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2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3.xml" ContentType="application/vnd.openxmlformats-officedocument.theme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theme/theme6.xml" ContentType="application/vnd.openxmlformats-officedocument.theme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9" r:id="rId4"/>
    <p:sldMasterId id="2147483848" r:id="rId5"/>
    <p:sldMasterId id="2147483903" r:id="rId6"/>
    <p:sldMasterId id="2147483955" r:id="rId7"/>
    <p:sldMasterId id="2147483993" r:id="rId8"/>
    <p:sldMasterId id="2147484045" r:id="rId9"/>
    <p:sldMasterId id="2147484102" r:id="rId10"/>
  </p:sldMasterIdLst>
  <p:notesMasterIdLst>
    <p:notesMasterId r:id="rId12"/>
  </p:notesMasterIdLst>
  <p:handoutMasterIdLst>
    <p:handoutMasterId r:id="rId13"/>
  </p:handoutMasterIdLst>
  <p:sldIdLst>
    <p:sldId id="283" r:id="rId11"/>
  </p:sldIdLst>
  <p:sldSz cx="12192000" cy="6858000"/>
  <p:notesSz cx="6858000" cy="9144000"/>
  <p:defaultTextStyle>
    <a:defPPr>
      <a:defRPr lang="en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37A4205-E7B9-B629-CDF0-7102EEA278F0}" name="Zayats, Michael (CT GLCP)" initials="MZ" userId="S::michael.zayats@hpe.com::60a3c493-c731-44d4-8951-bae9199d5687" providerId="AD"/>
  <p188:author id="{0070D2B6-5AFC-53B7-8A20-8A6C60D700D7}" name="Bhattacharya, Suparna" initials="SB" userId="S::suparna.bhattacharya@hpe.com::44cf870e-b072-488f-8fa4-7b665a83858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E0725"/>
    <a:srgbClr val="292D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520"/>
    <p:restoredTop sz="94670"/>
  </p:normalViewPr>
  <p:slideViewPr>
    <p:cSldViewPr snapToGrid="0">
      <p:cViewPr varScale="1">
        <p:scale>
          <a:sx n="117" d="100"/>
          <a:sy n="117" d="100"/>
        </p:scale>
        <p:origin x="488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handoutMaster" Target="handoutMasters/handoutMaster1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7BE70EE-ABFF-7898-FF38-C1C649A57DA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1C85076-C132-D0C4-F7C0-50C617DBDC8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F3AD1A2-D870-8962-7D87-AA387B26B10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4050CF-DD4A-BEFB-2AF1-F594C68CFCD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75F8EC-3703-4D6A-8276-E9F606B6AE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450015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74650" y="143510"/>
            <a:ext cx="4140200" cy="22733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/>
            </a:lvl1pPr>
          </a:lstStyle>
          <a:p>
            <a:endParaRPr lang="en-P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679950" y="143510"/>
            <a:ext cx="1799590" cy="22733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/>
            </a:lvl1pPr>
          </a:lstStyle>
          <a:p>
            <a:endParaRPr lang="en-P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74650" y="50419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P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74650" y="3209290"/>
            <a:ext cx="6101080" cy="530072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P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74650" y="8747760"/>
            <a:ext cx="4878070" cy="22733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50"/>
            </a:lvl1pPr>
          </a:lstStyle>
          <a:p>
            <a:endParaRPr lang="en-P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67400" y="8747760"/>
            <a:ext cx="608330" cy="22733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50"/>
            </a:lvl1pPr>
          </a:lstStyle>
          <a:p>
            <a:fld id="{20276FB5-B755-FF41-948A-F83E9AA573A8}" type="slidenum">
              <a:rPr lang="en-PL" smtClean="0"/>
              <a:pPr/>
              <a:t>‹#›</a:t>
            </a:fld>
            <a:endParaRPr lang="en-PL"/>
          </a:p>
        </p:txBody>
      </p:sp>
    </p:spTree>
    <p:extLst>
      <p:ext uri="{BB962C8B-B14F-4D97-AF65-F5344CB8AC3E}">
        <p14:creationId xmlns:p14="http://schemas.microsoft.com/office/powerpoint/2010/main" val="73406006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lnSpc>
        <a:spcPct val="90000"/>
      </a:lnSpc>
      <a:spcAft>
        <a:spcPts val="400"/>
      </a:spcAft>
      <a:defRPr sz="105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lnSpc>
        <a:spcPct val="90000"/>
      </a:lnSpc>
      <a:spcAft>
        <a:spcPts val="4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lnSpc>
        <a:spcPct val="90000"/>
      </a:lnSpc>
      <a:spcAft>
        <a:spcPts val="400"/>
      </a:spcAft>
      <a:buFont typeface="HPE Graphik" pitchFamily="50" charset="0"/>
      <a:buChar char="—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540000" indent="-180000" algn="l" defTabSz="914400" rtl="0" eaLnBrk="1" latinLnBrk="0" hangingPunct="1">
      <a:lnSpc>
        <a:spcPct val="90000"/>
      </a:lnSpc>
      <a:spcAft>
        <a:spcPts val="400"/>
      </a:spcAft>
      <a:buFont typeface="HPE Graphik" pitchFamily="50" charset="0"/>
      <a:buChar char="—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lnSpc>
        <a:spcPct val="90000"/>
      </a:lnSpc>
      <a:spcAft>
        <a:spcPts val="400"/>
      </a:spcAft>
      <a:buFont typeface="Arial" panose="020B0604020202020204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5FFF19-4BDC-10C0-96A1-887158B9A1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295667E-C16F-ECFD-339B-5640C4981F5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74650" y="504825"/>
            <a:ext cx="4572000" cy="25717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62E1B91-1D81-EEC5-5A6A-5AD62E9995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F6E588-805C-CE47-E5D8-29F1979F909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276FB5-B755-FF41-948A-F83E9AA573A8}" type="slidenum">
              <a:rPr lang="en-PL" smtClean="0"/>
              <a:pPr/>
              <a:t>1</a:t>
            </a:fld>
            <a:endParaRPr lang="en-PL"/>
          </a:p>
        </p:txBody>
      </p:sp>
    </p:spTree>
    <p:extLst>
      <p:ext uri="{BB962C8B-B14F-4D97-AF65-F5344CB8AC3E}">
        <p14:creationId xmlns:p14="http://schemas.microsoft.com/office/powerpoint/2010/main" val="36724504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.svg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5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5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6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0.png"/><Relationship Id="rId5" Type="http://schemas.openxmlformats.org/officeDocument/2006/relationships/image" Target="../media/image45.emf"/><Relationship Id="rId4" Type="http://schemas.openxmlformats.org/officeDocument/2006/relationships/oleObject" Target="../embeddings/oleObject1.bin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6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40.png"/><Relationship Id="rId5" Type="http://schemas.openxmlformats.org/officeDocument/2006/relationships/image" Target="../media/image45.emf"/><Relationship Id="rId4" Type="http://schemas.openxmlformats.org/officeDocument/2006/relationships/oleObject" Target="../embeddings/oleObject1.bin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6.svg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0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6.svg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6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6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6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6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6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6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png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png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2.svg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7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7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7.xml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7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7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7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7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7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7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DBE2E1BB-CE0A-BA4E-62F3-C11C72B14B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4EC4B5E-61C1-0327-AC26-FD6B85B7F0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F6E81DF5-9D1C-2874-F10C-40090BD539D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DEE9B376-05EC-3588-37E2-05C039D1F60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0061C036-93AE-3BAB-6526-8E33EA44445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702D808-AF03-DEF9-0314-E4335A543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521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3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3C35D8-793D-910E-958E-12734E9433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0ABB62-7FB2-A10A-FB79-640977444A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301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6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9"/>
            <a:ext cx="5676900" cy="3747262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0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pPr algn="l"/>
            <a:r>
              <a:rPr lang="en-US"/>
              <a:t>Big idea statement with multiple lines placed here</a:t>
            </a:r>
            <a:br>
              <a:rPr lang="en-US"/>
            </a:br>
            <a:r>
              <a:rPr lang="en-US"/>
              <a:t>lorem ipsum dolo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714F5D-2F9A-82E8-FC18-7CB26875487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A51A1E7-04E9-D26E-A5C3-735AE6D398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322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peaker contact information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383433" y="3392391"/>
            <a:ext cx="8188525" cy="876300"/>
          </a:xfrm>
          <a:prstGeom prst="rect">
            <a:avLst/>
          </a:prstGeom>
        </p:spPr>
        <p:txBody>
          <a:bodyPr lIns="0" tIns="45720" rIns="0" bIns="4572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374903" y="2449576"/>
            <a:ext cx="8188525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endParaRPr lang="en-US"/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smtClean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F29566-5470-D3D8-0F61-D70F81B7E50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3029473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Light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Element" descr="A green and grey gradient&#10;&#10;AI-generated content may be incorrect.">
            <a:extLst>
              <a:ext uri="{FF2B5EF4-FFF2-40B4-BE49-F238E27FC236}">
                <a16:creationId xmlns:a16="http://schemas.microsoft.com/office/drawing/2014/main" id="{12C5F0B4-0A38-5CD3-3BE3-3E3DBAF8B8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68339"/>
            <a:ext cx="10819505" cy="4114800"/>
          </a:xfrm>
          <a:prstGeom prst="rect">
            <a:avLst/>
          </a:prstGeom>
        </p:spPr>
      </p:pic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2085280-0B62-84D3-5783-A089C9A32C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2" y="3392391"/>
            <a:ext cx="9359900" cy="876300"/>
          </a:xfrm>
          <a:prstGeom prst="rect">
            <a:avLst/>
          </a:prstGeom>
        </p:spPr>
        <p:txBody>
          <a:bodyPr lIns="0" tIns="45720" rIns="0" bIns="4572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en-US"/>
              <a:t>Speaker contact informa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D5DFE24-7967-7D11-937E-63FD38BA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3" y="2449576"/>
            <a:ext cx="9359900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r>
              <a:rPr lang="en-US"/>
              <a:t> (</a:t>
            </a:r>
            <a:r>
              <a:rPr lang="pl-PL"/>
              <a:t>light</a:t>
            </a:r>
            <a:r>
              <a:rPr lang="en-US"/>
              <a:t> picture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66ECF0A-4D7E-CA75-6327-AA0FF80CF9A4}"/>
              </a:ext>
            </a:extLst>
          </p:cNvPr>
          <p:cNvSpPr txBox="1"/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 b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b="0" smtClean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 b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7BE8274-93CB-8904-C782-810A38A1D7B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2489664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Dark Picture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Element" descr="A green and grey gradient&#10;&#10;AI-generated content may be incorrect.">
            <a:extLst>
              <a:ext uri="{FF2B5EF4-FFF2-40B4-BE49-F238E27FC236}">
                <a16:creationId xmlns:a16="http://schemas.microsoft.com/office/drawing/2014/main" id="{6EFF1468-8A78-B04B-E071-FC4D4C76A4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5000"/>
          </a:blip>
          <a:stretch>
            <a:fillRect/>
          </a:stretch>
        </p:blipFill>
        <p:spPr>
          <a:xfrm>
            <a:off x="0" y="1371600"/>
            <a:ext cx="10819505" cy="4114800"/>
          </a:xfrm>
          <a:prstGeom prst="rect">
            <a:avLst/>
          </a:prstGeom>
        </p:spPr>
      </p:pic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2085280-0B62-84D3-5783-A089C9A32C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3" y="3392391"/>
            <a:ext cx="9359900" cy="876300"/>
          </a:xfrm>
          <a:prstGeom prst="rect">
            <a:avLst/>
          </a:prstGeom>
        </p:spPr>
        <p:txBody>
          <a:bodyPr lIns="0" tIns="45720" rIns="0" bIns="4572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/>
              <a:t>Speaker contact informa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D5DFE24-7967-7D11-937E-63FD38BA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3" y="2449576"/>
            <a:ext cx="9359900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r>
              <a:rPr lang="en-US"/>
              <a:t> (dark picture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66ECF0A-4D7E-CA75-6327-AA0FF80CF9A4}"/>
              </a:ext>
            </a:extLst>
          </p:cNvPr>
          <p:cNvSpPr txBox="1"/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 b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b="0" smtClean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 b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7BE8274-93CB-8904-C782-810A38A1D7B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 b="0">
                <a:solidFill>
                  <a:schemeClr val="bg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1588637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91440" bIns="91440" anchor="b"/>
          <a:lstStyle>
            <a:lvl1pPr>
              <a:lnSpc>
                <a:spcPct val="8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6A0C1C-FFFA-74C0-3719-4E6EA4C7BF7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CAEB09-CC92-C4AF-AFC7-84F7B4C836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DD3862E9-4343-21F9-03D0-319C0D76EE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4907" y="384050"/>
            <a:ext cx="1019648" cy="300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3155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0" bIns="9144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0" bIns="91440" anchor="b"/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DA1A1B8-63A0-5FF8-D94D-A64DF0037BD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51E08A-0EC1-9757-9EC4-3B8B8A2FC0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E04AA86-3390-5E05-F138-33B691BA0D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4907" y="388783"/>
            <a:ext cx="1019648" cy="291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698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rgbClr val="292D3A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292D3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91440" bIns="91440" anchor="b"/>
          <a:lstStyle>
            <a:lvl1pPr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defRPr sz="4800">
                <a:solidFill>
                  <a:srgbClr val="292D3A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737513D-A3AB-F0E4-0CD1-28BE5E7621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D4E66E-34EA-3AC2-4F5C-196138F8CF1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720F7DE3-5012-50D0-0EE0-FBB950E366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4907" y="384050"/>
            <a:ext cx="1019648" cy="300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068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E461D8-0641-727D-F822-B1556D372F2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DC7940-ECD3-9B40-E568-B47ABAFA6AC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1831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6" y="5471598"/>
            <a:ext cx="8228011" cy="533400"/>
          </a:xfrm>
          <a:prstGeom prst="rect">
            <a:avLst/>
          </a:prstGeo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1386402"/>
            <a:ext cx="7518482" cy="4085196"/>
          </a:xfrm>
        </p:spPr>
        <p:txBody>
          <a:bodyPr lIns="91440" anchor="ctr" anchorCtr="0"/>
          <a:lstStyle>
            <a:lvl1pPr marL="219456" indent="-219456">
              <a:defRPr sz="4000" b="0" cap="none" baseline="0">
                <a:latin typeface="HPE Graphik Light" pitchFamily="50" charset="0"/>
                <a:cs typeface="HPE Graphik Light" pitchFamily="50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F2754E-094F-7C73-88B9-FF823BF8303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CDFAF2-F03B-8CB9-A43F-2C8C54F552D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9198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87376D2-6A59-4BA9-8EA0-2ACD180817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3" name="Logo">
            <a:extLst>
              <a:ext uri="{FF2B5EF4-FFF2-40B4-BE49-F238E27FC236}">
                <a16:creationId xmlns:a16="http://schemas.microsoft.com/office/drawing/2014/main" id="{C7CA71CE-C053-471F-9DCA-CD481E01A6E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4" name="Element">
              <a:extLst>
                <a:ext uri="{FF2B5EF4-FFF2-40B4-BE49-F238E27FC236}">
                  <a16:creationId xmlns:a16="http://schemas.microsoft.com/office/drawing/2014/main" id="{E3099459-FF93-42DF-AF0B-9F971EEC02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20" name="Wordmark">
              <a:extLst>
                <a:ext uri="{FF2B5EF4-FFF2-40B4-BE49-F238E27FC236}">
                  <a16:creationId xmlns:a16="http://schemas.microsoft.com/office/drawing/2014/main" id="{75AF4DC2-08D7-4947-BE56-AB4767049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7478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lement Image">
            <a:extLst>
              <a:ext uri="{FF2B5EF4-FFF2-40B4-BE49-F238E27FC236}">
                <a16:creationId xmlns:a16="http://schemas.microsoft.com/office/drawing/2014/main" id="{1A711596-B981-E895-2147-80AF02FC6F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96" t="654" r="1416" b="120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951F0D95-92C8-F614-A840-CCF636DDBE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5" y="393193"/>
            <a:ext cx="11433977" cy="946080"/>
          </a:xfrm>
        </p:spPr>
        <p:txBody>
          <a:bodyPr lIns="0" tIns="0" rIns="91440" bIns="0"/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6000" b="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r>
              <a:rPr lang="en-US"/>
              <a:t>Divider 4 (with picture)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6D7B23CD-0964-2C4F-2645-F616DF81D0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C3AD242-1EDC-575F-5C91-FD24DABDDF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3751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8439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8439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28439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DD0DBAFB-7047-4B08-B7ED-CB050B7FBB50}"/>
              </a:ext>
            </a:extLst>
          </p:cNvPr>
          <p:cNvSpPr>
            <a:spLocks noGrp="1"/>
          </p:cNvSpPr>
          <p:nvPr userDrawn="1"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A3C61050-E60B-4FC2-8361-B75DC38392A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3" name="Element"/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14" name="Wordmark"/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017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4D7C280C-8E1E-4531-A635-C99FE1BDEE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6" name="Logo">
            <a:extLst>
              <a:ext uri="{FF2B5EF4-FFF2-40B4-BE49-F238E27FC236}">
                <a16:creationId xmlns:a16="http://schemas.microsoft.com/office/drawing/2014/main" id="{39DC9A4F-A16F-45B4-A72C-8DB544981AE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20" name="Element">
              <a:extLst>
                <a:ext uri="{FF2B5EF4-FFF2-40B4-BE49-F238E27FC236}">
                  <a16:creationId xmlns:a16="http://schemas.microsoft.com/office/drawing/2014/main" id="{25C81DB6-CCD4-4F17-86A3-D56DF640F5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21" name="Wordmark">
              <a:extLst>
                <a:ext uri="{FF2B5EF4-FFF2-40B4-BE49-F238E27FC236}">
                  <a16:creationId xmlns:a16="http://schemas.microsoft.com/office/drawing/2014/main" id="{7CF9A093-3688-4D04-9331-C6E54828F9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722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r">
            <a:extLst>
              <a:ext uri="{FF2B5EF4-FFF2-40B4-BE49-F238E27FC236}">
                <a16:creationId xmlns:a16="http://schemas.microsoft.com/office/drawing/2014/main" id="{59513FE3-337B-42EA-8F5D-B1D6CDD0F4A0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E8F2DF7-9AD5-47AF-92C4-F9011D8150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63A2EDB-3F77-406C-9116-E786D4D6A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021415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5837C125-1DBF-4F22-925B-D8481E8BC2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bIns="90000" anchor="ctr"/>
          <a:lstStyle>
            <a:lvl1pPr marL="0" indent="0" algn="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D8D4E77-E0A3-4D09-ACAE-F1308CF36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09E328-E168-4AEC-AD9B-18A4ACAAA4F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456EB42-66C6-4FC9-8A72-F78974DE84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937975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Edge to Edge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rIns="90000" bIns="360000" anchor="b"/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1414463" y="685801"/>
            <a:ext cx="9363075" cy="5480050"/>
          </a:xfrm>
        </p:spPr>
        <p:txBody>
          <a:bodyPr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</p:spTree>
    <p:extLst>
      <p:ext uri="{BB962C8B-B14F-4D97-AF65-F5344CB8AC3E}">
        <p14:creationId xmlns:p14="http://schemas.microsoft.com/office/powerpoint/2010/main" val="1974932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504950"/>
            <a:ext cx="12192000" cy="3295651"/>
          </a:xfrm>
          <a:solidFill>
            <a:schemeClr val="tx1"/>
          </a:solidFill>
        </p:spPr>
        <p:txBody>
          <a:bodyPr rIns="1828800" bIns="90000" anchor="ctr"/>
          <a:lstStyle>
            <a:lvl1pPr marL="0" indent="0" algn="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4"/>
          </p:nvPr>
        </p:nvSpPr>
        <p:spPr>
          <a:xfrm>
            <a:off x="292100" y="3258636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C8CDE3DB-5BD1-43F6-94A6-D47A00235D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EEEF92A3-A948-430A-BA72-93EBB9877D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69628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6" name="Title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B699D1C6-DBB0-43D0-BC06-19A6E62C19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CAA7B61-F2C7-43C9-A11F-B48C4ED2EB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721696" y="6129337"/>
            <a:ext cx="7481160" cy="411581"/>
          </a:xfrm>
        </p:spPr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433777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">
            <a:extLst>
              <a:ext uri="{FF2B5EF4-FFF2-40B4-BE49-F238E27FC236}">
                <a16:creationId xmlns:a16="http://schemas.microsoft.com/office/drawing/2014/main" id="{B6844C8B-60DD-4EDB-AF8B-41A6695EFC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0B94C82C-D24B-4532-B992-AD884CD16A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B49B78C-62D9-4CBC-82AE-117CC49AA73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0352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Blu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71441D17-F569-4929-BED2-B3C594D2EB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9926132-14B5-462D-8011-DBD07D3A4F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698795D-6546-4F01-AD74-FF78AF2E67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18135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EE3E2CEF-B9DC-4BC7-912D-0AF3140E0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452CF67-7C64-4A36-818E-9739F15599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E686EF5-477F-4DCE-824F-3C05B5AA65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cap="none" baseline="0"/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556276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1165860"/>
            <a:ext cx="11404800" cy="5097600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B6C3F6-7864-1614-6433-B6E9205341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A371ED-2734-3586-C69F-E31DDE6FB9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4657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+mn-lt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6E5649-B5F3-4893-ACEE-FDDDEA277D6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C9133F1-6679-476E-AEFD-931027BED0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116134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998681"/>
            <a:ext cx="11404800" cy="50976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24673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1000" y="1344281"/>
            <a:ext cx="11403014" cy="47520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02268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412802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81000" y="1733015"/>
            <a:ext cx="11403014" cy="43668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6" y="1350296"/>
            <a:ext cx="1149591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5918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2" y="391852"/>
            <a:ext cx="11498271" cy="401362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696170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71CBF7C-DC48-4FC0-9D75-AE2A7B709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30D71586-CC8D-433E-9833-9A7FDB8D82E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C5C9A9-E236-4C76-AAB8-D575E2980D3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192444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1000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08FD370-F534-4533-9D1C-D71C0301D4F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B9DB588-CD3A-4605-99DD-5D58A0334468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887051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4003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56308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60400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47138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8095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12F31EAB-796D-4E98-AD02-5E448046BB3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9B4ABF0-738F-478F-B9E7-E5D3DF83666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019424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5DFA194-46E5-48DD-9DF0-CE09ECBDE59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EED058A-E779-4D88-ADD2-9B84C2A1050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615014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365166"/>
            <a:ext cx="3628710" cy="473439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64F2FF0-0CF5-4CC1-8878-96534C54D9A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749AAC13-0724-4F89-9282-2A985E0669E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489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541417"/>
            <a:ext cx="11433977" cy="4730795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42628" cy="775846"/>
          </a:xfr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D62CB2E-81D7-48A5-A15B-340BF48D21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268E2A-81AF-75F2-036F-19A286FA83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5117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46122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65611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B8A07BF-CB97-4E22-9C06-99A9D26C819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7833D610-4CA4-41A3-B735-6F0642F9854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413616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F0756C0-7641-4173-A68F-865597D4BB0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221C879-23BF-48A0-9B6C-5B66C341975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518815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287B217-2E30-4712-99AE-652EEDB044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4EA22A1-FE1F-4F4A-9C07-F0E86D67E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040817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8B57979-9B2D-4984-B19E-0EFD2E111CE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A02681C-9BC6-4D8A-BB6B-D65D1A03959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0187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r">
            <a:extLst>
              <a:ext uri="{FF2B5EF4-FFF2-40B4-BE49-F238E27FC236}">
                <a16:creationId xmlns:a16="http://schemas.microsoft.com/office/drawing/2014/main" id="{8EF5646D-2EB2-41E1-98F7-8AFF5323E04E}"/>
              </a:ext>
            </a:extLst>
          </p:cNvPr>
          <p:cNvSpPr/>
          <p:nvPr userDrawn="1"/>
        </p:nvSpPr>
        <p:spPr>
          <a:xfrm>
            <a:off x="385100" y="124748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EBA2B6B1-8B85-4F7A-B1B8-3C2A2CA72C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6172FFC-9966-4FB3-B3D2-FBE84B0190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469640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1178166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>
            <a:extLst>
              <a:ext uri="{FF2B5EF4-FFF2-40B4-BE49-F238E27FC236}">
                <a16:creationId xmlns:a16="http://schemas.microsoft.com/office/drawing/2014/main" id="{371489F8-FD72-440E-84EC-51D4A768BB5E}"/>
              </a:ext>
            </a:extLst>
          </p:cNvPr>
          <p:cNvSpPr/>
          <p:nvPr userDrawn="1"/>
        </p:nvSpPr>
        <p:spPr>
          <a:xfrm>
            <a:off x="385100" y="1663329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903090B-018E-41F6-821A-0DB185B1678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EE71AD2-3B17-4BBC-A780-3AEAE01E747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293988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2818CA98-330E-4FE7-B6FF-632E311233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F90604F-7FA1-41D8-9914-866F3305034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958604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92DC03DA-1907-4E05-9BC8-1056217131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B2C94F6-2456-49E7-A85E-744A4B16A8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531668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0" name="Text Placeholder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>
                <a:latin typeface="+mn-lt"/>
              </a:defRPr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add</a:t>
            </a:r>
            <a:br>
              <a:rPr lang="en-US"/>
            </a:br>
            <a:r>
              <a:rPr lang="en-US"/>
              <a:t>two-line subtitl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2D12F7D-5A80-4CB3-A519-0EC3099CAB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77D698-96B1-4B1C-AC10-E28AA67073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262602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37736B1-D7A7-4407-BE85-C3B77D9DE3F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C2633DB1-4E58-49AF-9CC5-F4480459AE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960740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74904" y="1541417"/>
            <a:ext cx="11433977" cy="4730795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1498586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cture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685C0DB9-A0DF-42B9-B705-83944EECB3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8085FE46-B145-48DA-84CC-BEC7ABB0F6C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62B249EC-9477-452C-91FB-A412BD37EF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186521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269A3E8D-DCFB-4D37-86BB-56632B0912B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5100" y="995363"/>
            <a:ext cx="7844500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1E92FAC-B699-43F5-B87D-2D8B714080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38747A7-25DE-48D8-8D31-0F3DF66ADF9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558901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44437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285743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4313365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021305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515445" y="999540"/>
            <a:ext cx="3257847" cy="51005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B8E13A3-BC15-450D-96D1-EB785D605B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91AA25E-ECBD-44CD-9DE9-F058616E771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528810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72895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11EEBA4-9351-4C42-9CB1-BC966ADFAF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2725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6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33220B8-73BB-42A1-AE6B-0898C72176B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278F3E4F-3B9E-412C-A6C9-621D3C25AA9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308454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05705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3900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546810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994740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Bar 3">
            <a:extLst>
              <a:ext uri="{FF2B5EF4-FFF2-40B4-BE49-F238E27FC236}">
                <a16:creationId xmlns:a16="http://schemas.microsoft.com/office/drawing/2014/main" id="{42FA215D-0B81-4E67-9714-4DF602504A3A}"/>
              </a:ext>
            </a:extLst>
          </p:cNvPr>
          <p:cNvSpPr/>
          <p:nvPr userDrawn="1"/>
        </p:nvSpPr>
        <p:spPr>
          <a:xfrm>
            <a:off x="8097009" y="4258726"/>
            <a:ext cx="3679200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4239004" y="4258726"/>
            <a:ext cx="36792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36735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36792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004416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1" y="4310712"/>
            <a:ext cx="5688012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6222013" y="4258726"/>
            <a:ext cx="55620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5661163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55620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32914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68187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95F41DF-93F3-CDC9-2F09-5645DCF4B1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33978" cy="369486"/>
          </a:xfrm>
          <a:prstGeom prst="rect">
            <a:avLst/>
          </a:prstGeom>
        </p:spPr>
        <p:txBody>
          <a:bodyPr t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B1FDE8-1311-7248-18A8-D4800084C25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A4E9F6-3410-0A4E-80C1-A550B6D95A6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9">
            <a:extLst>
              <a:ext uri="{FF2B5EF4-FFF2-40B4-BE49-F238E27FC236}">
                <a16:creationId xmlns:a16="http://schemas.microsoft.com/office/drawing/2014/main" id="{8228B93E-9AAB-D047-1D10-C52AC4536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bIns="0" anchor="t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Content Placeholder">
            <a:extLst>
              <a:ext uri="{FF2B5EF4-FFF2-40B4-BE49-F238E27FC236}">
                <a16:creationId xmlns:a16="http://schemas.microsoft.com/office/drawing/2014/main" id="{AA8B383B-1E87-87BA-8652-6B7B1E2F64D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4904" y="1920874"/>
            <a:ext cx="11433977" cy="4358006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8407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Single Lin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ctr">
              <a:lnSpc>
                <a:spcPct val="75000"/>
              </a:lnSpc>
              <a:defRPr sz="17000">
                <a:blipFill dpi="0" rotWithShape="1">
                  <a:blip r:embed="rId2"/>
                  <a:srcRect/>
                  <a:stretch>
                    <a:fillRect/>
                  </a:stretch>
                </a:blipFill>
              </a:defRPr>
            </a:lvl1pPr>
          </a:lstStyle>
          <a:p>
            <a:r>
              <a:rPr lang="en-US"/>
              <a:t>Single line</a:t>
            </a:r>
          </a:p>
        </p:txBody>
      </p:sp>
    </p:spTree>
    <p:extLst>
      <p:ext uri="{BB962C8B-B14F-4D97-AF65-F5344CB8AC3E}">
        <p14:creationId xmlns:p14="http://schemas.microsoft.com/office/powerpoint/2010/main" val="27902656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Multiple Lin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l">
              <a:lnSpc>
                <a:spcPct val="65000"/>
              </a:lnSpc>
              <a:defRPr sz="12500">
                <a:blipFill dpi="0" rotWithShape="1">
                  <a:blip r:embed="rId2"/>
                  <a:srcRect/>
                  <a:stretch>
                    <a:fillRect/>
                  </a:stretch>
                </a:blipFill>
              </a:defRPr>
            </a:lvl1pPr>
          </a:lstStyle>
          <a:p>
            <a:r>
              <a:rPr lang="en-US"/>
              <a:t>Multiple </a:t>
            </a:r>
            <a:br>
              <a:rPr lang="en-US"/>
            </a:br>
            <a:r>
              <a:rPr lang="en-US"/>
              <a:t>lines </a:t>
            </a:r>
          </a:p>
        </p:txBody>
      </p:sp>
    </p:spTree>
    <p:extLst>
      <p:ext uri="{BB962C8B-B14F-4D97-AF65-F5344CB8AC3E}">
        <p14:creationId xmlns:p14="http://schemas.microsoft.com/office/powerpoint/2010/main" val="12788405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6242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202D382-F177-4EDD-9E63-D410F58B20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5D5BB30E-8FED-4853-AD8A-7BB93B3FF1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237656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20551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62127D76-909D-4C18-BB52-4DDB379ACAE3}"/>
              </a:ext>
            </a:extLst>
          </p:cNvPr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3" name="Footer Placeholder">
            <a:extLst>
              <a:ext uri="{FF2B5EF4-FFF2-40B4-BE49-F238E27FC236}">
                <a16:creationId xmlns:a16="http://schemas.microsoft.com/office/drawing/2014/main" id="{B08835D9-51EC-4CAD-A07F-93C2FF4161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4720" y="5923546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/>
          <p:nvPr userDrawn="1"/>
        </p:nvSpPr>
        <p:spPr>
          <a:xfrm>
            <a:off x="8115300" y="6335127"/>
            <a:ext cx="3740580" cy="2769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algn="r"/>
            <a:r>
              <a:rPr lang="en-US" sz="120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1200" smtClean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120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623332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385100" y="2085631"/>
            <a:ext cx="8657275" cy="369332"/>
            <a:chOff x="1797664" y="2085631"/>
            <a:chExt cx="8657274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385100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853239" y="3148295"/>
            <a:ext cx="8189135" cy="369332"/>
            <a:chOff x="2265804" y="3155687"/>
            <a:chExt cx="8189134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853240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sp>
        <p:nvSpPr>
          <p:cNvPr id="2" name="Title">
            <a:extLst>
              <a:ext uri="{FF2B5EF4-FFF2-40B4-BE49-F238E27FC236}">
                <a16:creationId xmlns:a16="http://schemas.microsoft.com/office/drawing/2014/main" id="{AD3FC5EF-E69D-4618-8443-A903DF0604E7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8" name="Bar">
            <a:extLst>
              <a:ext uri="{FF2B5EF4-FFF2-40B4-BE49-F238E27FC236}">
                <a16:creationId xmlns:a16="http://schemas.microsoft.com/office/drawing/2014/main" id="{138C5D1F-7025-4361-82C0-442529977361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720535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95543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60">
            <a:extLst>
              <a:ext uri="{FF2B5EF4-FFF2-40B4-BE49-F238E27FC236}">
                <a16:creationId xmlns:a16="http://schemas.microsoft.com/office/drawing/2014/main" id="{7199A713-420D-8440-E9C8-52D7E1F2B09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0" y="0"/>
            <a:ext cx="12188952" cy="3467100"/>
          </a:xfrm>
          <a:custGeom>
            <a:avLst/>
            <a:gdLst>
              <a:gd name="connsiteX0" fmla="*/ 0 w 12215306"/>
              <a:gd name="connsiteY0" fmla="*/ 0 h 3429000"/>
              <a:gd name="connsiteX1" fmla="*/ 12215306 w 12215306"/>
              <a:gd name="connsiteY1" fmla="*/ 0 h 3429000"/>
              <a:gd name="connsiteX2" fmla="*/ 12215306 w 12215306"/>
              <a:gd name="connsiteY2" fmla="*/ 3429000 h 3429000"/>
              <a:gd name="connsiteX3" fmla="*/ 10839384 w 12215306"/>
              <a:gd name="connsiteY3" fmla="*/ 3429000 h 3429000"/>
              <a:gd name="connsiteX4" fmla="*/ 10839384 w 12215306"/>
              <a:gd name="connsiteY4" fmla="*/ 1375939 h 3429000"/>
              <a:gd name="connsiteX5" fmla="*/ 0 w 12215306"/>
              <a:gd name="connsiteY5" fmla="*/ 1375939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15306" h="3429000">
                <a:moveTo>
                  <a:pt x="0" y="0"/>
                </a:moveTo>
                <a:lnTo>
                  <a:pt x="12215306" y="0"/>
                </a:lnTo>
                <a:lnTo>
                  <a:pt x="12215306" y="3429000"/>
                </a:lnTo>
                <a:lnTo>
                  <a:pt x="10839384" y="3429000"/>
                </a:lnTo>
                <a:lnTo>
                  <a:pt x="10839384" y="1375939"/>
                </a:lnTo>
                <a:lnTo>
                  <a:pt x="0" y="1375939"/>
                </a:lnTo>
                <a:close/>
              </a:path>
            </a:pathLst>
          </a:custGeom>
          <a:gradFill>
            <a:gsLst>
              <a:gs pos="46000">
                <a:schemeClr val="accent4">
                  <a:lumMod val="75000"/>
                </a:schemeClr>
              </a:gs>
              <a:gs pos="39000">
                <a:srgbClr val="00E0AF"/>
              </a:gs>
              <a:gs pos="14000">
                <a:srgbClr val="05CC93"/>
              </a:gs>
              <a:gs pos="60000">
                <a:srgbClr val="0070F8"/>
              </a:gs>
              <a:gs pos="96552">
                <a:schemeClr val="tx1"/>
              </a:gs>
              <a:gs pos="87000">
                <a:schemeClr val="tx1">
                  <a:alpha val="0"/>
                </a:schemeClr>
              </a:gs>
            </a:gsLst>
            <a:lin ang="12000000" scaled="0"/>
          </a:gradFill>
        </p:spPr>
        <p:txBody>
          <a:bodyPr vert="horz" wrap="square" lIns="0" tIns="45720" rIns="0" bIns="45720" rtlCol="0">
            <a:noAutofit/>
          </a:bodyPr>
          <a:lstStyle>
            <a:lvl1pPr>
              <a:defRPr lang="en-US">
                <a:noFill/>
              </a:defRPr>
            </a:lvl1pPr>
            <a:lvl2pPr>
              <a:defRPr lang="en-US">
                <a:noFill/>
              </a:defRPr>
            </a:lvl2pPr>
            <a:lvl3pPr>
              <a:defRPr lang="en-US">
                <a:noFill/>
              </a:defRPr>
            </a:lvl3pPr>
            <a:lvl4pPr>
              <a:defRPr lang="en-US">
                <a:noFill/>
              </a:defRPr>
            </a:lvl4pPr>
            <a:lvl5pPr>
              <a:defRPr lang="en-US">
                <a:noFill/>
                <a:latin typeface="HPE Graphik Light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263">
            <a:extLst>
              <a:ext uri="{FF2B5EF4-FFF2-40B4-BE49-F238E27FC236}">
                <a16:creationId xmlns:a16="http://schemas.microsoft.com/office/drawing/2014/main" id="{CDB81F5E-3800-37B3-A279-50A58B93312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0" y="3397250"/>
            <a:ext cx="12188952" cy="3482445"/>
          </a:xfrm>
          <a:custGeom>
            <a:avLst/>
            <a:gdLst>
              <a:gd name="connsiteX0" fmla="*/ 10839384 w 12215306"/>
              <a:gd name="connsiteY0" fmla="*/ 0 h 3443475"/>
              <a:gd name="connsiteX1" fmla="*/ 12215306 w 12215306"/>
              <a:gd name="connsiteY1" fmla="*/ 0 h 3443475"/>
              <a:gd name="connsiteX2" fmla="*/ 12215306 w 12215306"/>
              <a:gd name="connsiteY2" fmla="*/ 3443475 h 3443475"/>
              <a:gd name="connsiteX3" fmla="*/ 0 w 12215306"/>
              <a:gd name="connsiteY3" fmla="*/ 3443475 h 3443475"/>
              <a:gd name="connsiteX4" fmla="*/ 0 w 12215306"/>
              <a:gd name="connsiteY4" fmla="*/ 2067536 h 3443475"/>
              <a:gd name="connsiteX5" fmla="*/ 10839384 w 12215306"/>
              <a:gd name="connsiteY5" fmla="*/ 2067536 h 344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15306" h="3443475">
                <a:moveTo>
                  <a:pt x="10839384" y="0"/>
                </a:moveTo>
                <a:lnTo>
                  <a:pt x="12215306" y="0"/>
                </a:lnTo>
                <a:lnTo>
                  <a:pt x="12215306" y="3443475"/>
                </a:lnTo>
                <a:lnTo>
                  <a:pt x="0" y="3443475"/>
                </a:lnTo>
                <a:lnTo>
                  <a:pt x="0" y="2067536"/>
                </a:lnTo>
                <a:lnTo>
                  <a:pt x="10839384" y="2067536"/>
                </a:lnTo>
                <a:close/>
              </a:path>
            </a:pathLst>
          </a:custGeom>
          <a:gradFill flip="none" rotWithShape="1">
            <a:gsLst>
              <a:gs pos="17000">
                <a:schemeClr val="tx1">
                  <a:alpha val="18945"/>
                </a:schemeClr>
              </a:gs>
              <a:gs pos="52000">
                <a:srgbClr val="05CC93"/>
              </a:gs>
            </a:gsLst>
            <a:lin ang="1800000" scaled="0"/>
            <a:tileRect/>
          </a:gradFill>
        </p:spPr>
        <p:txBody>
          <a:bodyPr vert="horz" wrap="square" lIns="0" tIns="45720" rIns="0" bIns="45720" rtlCol="0">
            <a:noAutofit/>
          </a:bodyPr>
          <a:lstStyle>
            <a:lvl1pPr>
              <a:defRPr lang="en-US" sz="100" smtClean="0">
                <a:noFill/>
              </a:defRPr>
            </a:lvl1pPr>
            <a:lvl2pPr>
              <a:defRPr lang="en-US" sz="100" smtClean="0">
                <a:noFill/>
              </a:defRPr>
            </a:lvl2pPr>
            <a:lvl3pPr>
              <a:defRPr lang="en-US" sz="100" smtClean="0">
                <a:noFill/>
              </a:defRPr>
            </a:lvl3pPr>
            <a:lvl4pPr>
              <a:defRPr lang="en-US" sz="100" smtClean="0">
                <a:noFill/>
              </a:defRPr>
            </a:lvl4pPr>
            <a:lvl5pPr>
              <a:defRPr lang="en-US" sz="100">
                <a:noFill/>
                <a:latin typeface="HPE Graphik Light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0512"/>
            <a:ext cx="9144000" cy="1581912"/>
          </a:xfrm>
        </p:spPr>
        <p:txBody>
          <a:bodyPr anchor="t"/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/>
              <a:t>Cover slide, graphic only, </a:t>
            </a:r>
            <a:br>
              <a:rPr lang="en-US"/>
            </a:br>
            <a:r>
              <a:rPr lang="en-US"/>
              <a:t>white type, </a:t>
            </a:r>
            <a:r>
              <a:rPr lang="en-US" err="1"/>
              <a:t>Graphik</a:t>
            </a:r>
            <a:r>
              <a:rPr lang="en-US"/>
              <a:t> Semibold</a:t>
            </a:r>
          </a:p>
        </p:txBody>
      </p:sp>
      <p:sp>
        <p:nvSpPr>
          <p:cNvPr id="3" name="Picture Placeholder 12">
            <a:extLst>
              <a:ext uri="{FF2B5EF4-FFF2-40B4-BE49-F238E27FC236}">
                <a16:creationId xmlns:a16="http://schemas.microsoft.com/office/drawing/2014/main" id="{9C442973-E60C-821A-0141-125EF4539F8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74904" y="393192"/>
            <a:ext cx="953340" cy="307972"/>
          </a:xfrm>
          <a:solidFill>
            <a:schemeClr val="bg1"/>
          </a:solidFill>
        </p:spPr>
        <p:txBody>
          <a:bodyPr lIns="91440" anchor="ctr"/>
          <a:lstStyle>
            <a:lvl1pPr algn="ctr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691514F-F9EE-6B25-55D7-755EA76B87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8100" y="6429247"/>
            <a:ext cx="340782" cy="1905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45B52B25-4E7A-E417-C1AB-E66938FAEE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Confidential | Authorized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F6D8FEFB-CE74-125B-C951-1F97884F5D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59922F0E-956D-398B-1191-BE60B9851B3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</p:spTree>
    <p:extLst>
      <p:ext uri="{BB962C8B-B14F-4D97-AF65-F5344CB8AC3E}">
        <p14:creationId xmlns:p14="http://schemas.microsoft.com/office/powerpoint/2010/main" val="2579543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ple Divider Slide">
    <p:bg>
      <p:bgPr>
        <a:gradFill>
          <a:gsLst>
            <a:gs pos="44000">
              <a:schemeClr val="tx1"/>
            </a:gs>
            <a:gs pos="82000">
              <a:schemeClr val="tx1">
                <a:alpha val="92178"/>
              </a:schemeClr>
            </a:gs>
          </a:gsLst>
          <a:lin ang="21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7D7ABB0E-A1B5-C818-7D10-BDD285A0C34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931060"/>
            <a:ext cx="9900451" cy="5926940"/>
          </a:xfrm>
          <a:custGeom>
            <a:avLst/>
            <a:gdLst>
              <a:gd name="connsiteX0" fmla="*/ 0 w 9900451"/>
              <a:gd name="connsiteY0" fmla="*/ 0 h 5926940"/>
              <a:gd name="connsiteX1" fmla="*/ 9900451 w 9900451"/>
              <a:gd name="connsiteY1" fmla="*/ 0 h 5926940"/>
              <a:gd name="connsiteX2" fmla="*/ 9900451 w 9900451"/>
              <a:gd name="connsiteY2" fmla="*/ 5926940 h 5926940"/>
              <a:gd name="connsiteX3" fmla="*/ 7714779 w 9900451"/>
              <a:gd name="connsiteY3" fmla="*/ 5926940 h 5926940"/>
              <a:gd name="connsiteX4" fmla="*/ 7714779 w 9900451"/>
              <a:gd name="connsiteY4" fmla="*/ 2185669 h 5926940"/>
              <a:gd name="connsiteX5" fmla="*/ 0 w 9900451"/>
              <a:gd name="connsiteY5" fmla="*/ 2185669 h 5926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00451" h="5926940">
                <a:moveTo>
                  <a:pt x="0" y="0"/>
                </a:moveTo>
                <a:lnTo>
                  <a:pt x="9900451" y="0"/>
                </a:lnTo>
                <a:lnTo>
                  <a:pt x="9900451" y="5926940"/>
                </a:lnTo>
                <a:lnTo>
                  <a:pt x="7714779" y="5926940"/>
                </a:lnTo>
                <a:lnTo>
                  <a:pt x="7714779" y="2185669"/>
                </a:lnTo>
                <a:lnTo>
                  <a:pt x="0" y="2185669"/>
                </a:lnTo>
                <a:close/>
              </a:path>
            </a:pathLst>
          </a:custGeom>
          <a:gradFill flip="none" rotWithShape="1">
            <a:gsLst>
              <a:gs pos="33000">
                <a:schemeClr val="tx1">
                  <a:alpha val="75474"/>
                </a:schemeClr>
              </a:gs>
              <a:gs pos="67000">
                <a:srgbClr val="E6E8E9">
                  <a:alpha val="12000"/>
                </a:srgbClr>
              </a:gs>
            </a:gsLst>
            <a:lin ang="19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91440" bIns="45720" rtlCol="0" anchor="ctr">
            <a:noAutofit/>
          </a:bodyPr>
          <a:lstStyle>
            <a:lvl1pPr>
              <a:defRPr lang="en-US" sz="100" dirty="0">
                <a:noFill/>
                <a:latin typeface="HPE Graphik Light" pitchFamily="50" charset="0"/>
              </a:defRPr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08176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>
                <a:latin typeface="HPE Graphik Light" pitchFamily="50" charset="0"/>
              </a:defRPr>
            </a:lvl1pPr>
          </a:lstStyle>
          <a:p>
            <a:r>
              <a:rPr lang="en-US"/>
              <a:t>Divider section layout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996962" cy="365126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3544AC8-2D7F-59D9-6708-78BC7A8341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F72B062-2135-EA32-CC97-2D1341B91E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260183F-A02B-3C08-CE51-9C4E3D2A6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85823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Divider Slide">
    <p:bg>
      <p:bgPr>
        <a:gradFill>
          <a:gsLst>
            <a:gs pos="31000">
              <a:schemeClr val="tx1"/>
            </a:gs>
            <a:gs pos="76000">
              <a:schemeClr val="tx1">
                <a:alpha val="85772"/>
              </a:schemeClr>
            </a:gs>
          </a:gsLst>
          <a:lin ang="21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7">
            <a:extLst>
              <a:ext uri="{FF2B5EF4-FFF2-40B4-BE49-F238E27FC236}">
                <a16:creationId xmlns:a16="http://schemas.microsoft.com/office/drawing/2014/main" id="{59AC73AC-71C8-1320-62AC-F4BAC11C924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931060"/>
            <a:ext cx="9900451" cy="5926940"/>
          </a:xfrm>
          <a:custGeom>
            <a:avLst/>
            <a:gdLst>
              <a:gd name="connsiteX0" fmla="*/ 0 w 9900451"/>
              <a:gd name="connsiteY0" fmla="*/ 0 h 5926940"/>
              <a:gd name="connsiteX1" fmla="*/ 9900451 w 9900451"/>
              <a:gd name="connsiteY1" fmla="*/ 0 h 5926940"/>
              <a:gd name="connsiteX2" fmla="*/ 9900451 w 9900451"/>
              <a:gd name="connsiteY2" fmla="*/ 5926940 h 5926940"/>
              <a:gd name="connsiteX3" fmla="*/ 7714779 w 9900451"/>
              <a:gd name="connsiteY3" fmla="*/ 5926940 h 5926940"/>
              <a:gd name="connsiteX4" fmla="*/ 7714779 w 9900451"/>
              <a:gd name="connsiteY4" fmla="*/ 2185669 h 5926940"/>
              <a:gd name="connsiteX5" fmla="*/ 0 w 9900451"/>
              <a:gd name="connsiteY5" fmla="*/ 2185669 h 5926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00451" h="5926940">
                <a:moveTo>
                  <a:pt x="0" y="0"/>
                </a:moveTo>
                <a:lnTo>
                  <a:pt x="9900451" y="0"/>
                </a:lnTo>
                <a:lnTo>
                  <a:pt x="9900451" y="5926940"/>
                </a:lnTo>
                <a:lnTo>
                  <a:pt x="7714779" y="5926940"/>
                </a:lnTo>
                <a:lnTo>
                  <a:pt x="7714779" y="2185669"/>
                </a:lnTo>
                <a:lnTo>
                  <a:pt x="0" y="2185669"/>
                </a:lnTo>
                <a:close/>
              </a:path>
            </a:pathLst>
          </a:custGeom>
          <a:gradFill flip="none" rotWithShape="1">
            <a:gsLst>
              <a:gs pos="0">
                <a:schemeClr val="tx1">
                  <a:alpha val="62986"/>
                </a:schemeClr>
              </a:gs>
              <a:gs pos="29000">
                <a:schemeClr val="tx1">
                  <a:alpha val="49366"/>
                </a:schemeClr>
              </a:gs>
              <a:gs pos="69000">
                <a:srgbClr val="01A982">
                  <a:alpha val="67000"/>
                </a:srgbClr>
              </a:gs>
              <a:gs pos="96000">
                <a:srgbClr val="01A982"/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91440" bIns="45720" rtlCol="0" anchor="ctr">
            <a:noAutofit/>
          </a:bodyPr>
          <a:lstStyle>
            <a:lvl1pPr>
              <a:defRPr lang="en-US" sz="100" dirty="0">
                <a:noFill/>
                <a:latin typeface="HPE Graphik Light" pitchFamily="50" charset="0"/>
              </a:defRPr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08176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>
                <a:latin typeface="HPE Graphik Light" pitchFamily="50" charset="0"/>
              </a:defRPr>
            </a:lvl1pPr>
          </a:lstStyle>
          <a:p>
            <a:r>
              <a:rPr lang="en-US"/>
              <a:t>Divider section layout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7029619" cy="365126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A6F3F653-ECD1-FB07-88DF-6CF3FD8843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652333D-2B07-D7A4-9DC4-7B8F1A5C6E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4FDECBD-2818-FA89-C548-6726A8E3D2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79271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4904" y="1920874"/>
            <a:ext cx="11433977" cy="4358006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374903" y="1526183"/>
            <a:ext cx="11347170" cy="369486"/>
          </a:xfrm>
          <a:prstGeom prst="rect">
            <a:avLst/>
          </a:prstGeom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lIns="0" tIns="0" rIns="91440" bIns="4572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2251658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um Blue Divider Slide">
    <p:bg>
      <p:bgPr>
        <a:gradFill>
          <a:gsLst>
            <a:gs pos="19000">
              <a:schemeClr val="tx1"/>
            </a:gs>
            <a:gs pos="76000">
              <a:schemeClr val="tx1">
                <a:alpha val="85772"/>
              </a:schemeClr>
            </a:gs>
          </a:gsLst>
          <a:lin ang="21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7">
            <a:extLst>
              <a:ext uri="{FF2B5EF4-FFF2-40B4-BE49-F238E27FC236}">
                <a16:creationId xmlns:a16="http://schemas.microsoft.com/office/drawing/2014/main" id="{26856C76-6FD9-8080-4A90-C17514AFF0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931060"/>
            <a:ext cx="9900451" cy="5926940"/>
          </a:xfrm>
          <a:custGeom>
            <a:avLst/>
            <a:gdLst>
              <a:gd name="connsiteX0" fmla="*/ 0 w 9900451"/>
              <a:gd name="connsiteY0" fmla="*/ 0 h 5926940"/>
              <a:gd name="connsiteX1" fmla="*/ 9900451 w 9900451"/>
              <a:gd name="connsiteY1" fmla="*/ 0 h 5926940"/>
              <a:gd name="connsiteX2" fmla="*/ 9900451 w 9900451"/>
              <a:gd name="connsiteY2" fmla="*/ 5926940 h 5926940"/>
              <a:gd name="connsiteX3" fmla="*/ 7714779 w 9900451"/>
              <a:gd name="connsiteY3" fmla="*/ 5926940 h 5926940"/>
              <a:gd name="connsiteX4" fmla="*/ 7714779 w 9900451"/>
              <a:gd name="connsiteY4" fmla="*/ 2185669 h 5926940"/>
              <a:gd name="connsiteX5" fmla="*/ 0 w 9900451"/>
              <a:gd name="connsiteY5" fmla="*/ 2185669 h 5926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00451" h="5926940">
                <a:moveTo>
                  <a:pt x="0" y="0"/>
                </a:moveTo>
                <a:lnTo>
                  <a:pt x="9900451" y="0"/>
                </a:lnTo>
                <a:lnTo>
                  <a:pt x="9900451" y="5926940"/>
                </a:lnTo>
                <a:lnTo>
                  <a:pt x="7714779" y="5926940"/>
                </a:lnTo>
                <a:lnTo>
                  <a:pt x="7714779" y="2185669"/>
                </a:lnTo>
                <a:lnTo>
                  <a:pt x="0" y="2185669"/>
                </a:lnTo>
                <a:close/>
              </a:path>
            </a:pathLst>
          </a:custGeom>
          <a:gradFill flip="none" rotWithShape="1">
            <a:gsLst>
              <a:gs pos="25000">
                <a:srgbClr val="01A982"/>
              </a:gs>
              <a:gs pos="2000">
                <a:srgbClr val="05CC93"/>
              </a:gs>
              <a:gs pos="80000">
                <a:schemeClr val="tx1">
                  <a:alpha val="83303"/>
                </a:schemeClr>
              </a:gs>
              <a:gs pos="66000">
                <a:schemeClr val="tx1">
                  <a:lumMod val="90000"/>
                  <a:lumOff val="10000"/>
                  <a:alpha val="30971"/>
                </a:schemeClr>
              </a:gs>
              <a:gs pos="46000">
                <a:srgbClr val="0070F8">
                  <a:alpha val="92953"/>
                </a:srgbClr>
              </a:gs>
            </a:gsLst>
            <a:lin ang="9000000" scaled="0"/>
            <a:tileRect/>
          </a:gradFill>
        </p:spPr>
        <p:txBody>
          <a:bodyPr vert="horz" wrap="square" lIns="0" tIns="45720" rIns="91440" bIns="45720" rtlCol="0">
            <a:noAutofit/>
          </a:bodyPr>
          <a:lstStyle>
            <a:lvl1pPr>
              <a:defRPr lang="en-US" dirty="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7042682" cy="365126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42B216F-6129-A258-77AC-F405DA3486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289FA36-9735-F9C8-6942-1E3B9C6A4C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C19EA36-A03B-72EE-729D-C42986A63B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F8225F2-1E56-28CD-8CD6-17C7AD0DE6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08176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>
                <a:latin typeface="HPE Graphik Light" pitchFamily="50" charset="0"/>
              </a:defRPr>
            </a:lvl1pPr>
          </a:lstStyle>
          <a:p>
            <a:r>
              <a:rPr lang="en-US"/>
              <a:t>Divider section layout,</a:t>
            </a:r>
            <a:br>
              <a:rPr lang="en-US"/>
            </a:br>
            <a:r>
              <a:rPr lang="en-US"/>
              <a:t>two lines max</a:t>
            </a:r>
          </a:p>
        </p:txBody>
      </p:sp>
    </p:spTree>
    <p:extLst>
      <p:ext uri="{BB962C8B-B14F-4D97-AF65-F5344CB8AC3E}">
        <p14:creationId xmlns:p14="http://schemas.microsoft.com/office/powerpoint/2010/main" val="219406940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Frame Divi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D25A4BD7-A896-2188-E387-26A199DCEB2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chemeClr val="tx2">
              <a:lumMod val="90000"/>
              <a:lumOff val="10000"/>
            </a:schemeClr>
          </a:solidFill>
        </p:spPr>
        <p:txBody>
          <a:bodyPr anchor="ctr"/>
          <a:lstStyle>
            <a:lvl1pPr algn="ctr">
              <a:defRPr sz="1200"/>
            </a:lvl1pPr>
          </a:lstStyle>
          <a:p>
            <a:r>
              <a:rPr lang="en-US"/>
              <a:t>Image placeholder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F693C88-D582-4CC3-9D38-8813F7E42FA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809750 h 6858000"/>
              <a:gd name="connsiteX3" fmla="*/ 1806575 w 12192000"/>
              <a:gd name="connsiteY3" fmla="*/ 1809750 h 6858000"/>
              <a:gd name="connsiteX4" fmla="*/ 1806575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809750"/>
                </a:lnTo>
                <a:lnTo>
                  <a:pt x="1806575" y="1809750"/>
                </a:lnTo>
                <a:lnTo>
                  <a:pt x="1806575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28000">
                <a:schemeClr val="tx1"/>
              </a:gs>
              <a:gs pos="5000">
                <a:schemeClr val="tx1"/>
              </a:gs>
              <a:gs pos="17000">
                <a:schemeClr val="tx1"/>
              </a:gs>
              <a:gs pos="44000">
                <a:schemeClr val="tx2">
                  <a:alpha val="63000"/>
                </a:schemeClr>
              </a:gs>
              <a:gs pos="61000">
                <a:schemeClr val="tx1">
                  <a:alpha val="0"/>
                </a:schemeClr>
              </a:gs>
            </a:gsLst>
            <a:lin ang="2700000" scaled="1"/>
            <a:tileRect/>
          </a:gradFill>
        </p:spPr>
        <p:txBody>
          <a:bodyPr vert="horz" wrap="square" lIns="0" tIns="45720" rIns="91440" bIns="45720" rtlCol="0">
            <a:noAutofit/>
          </a:bodyPr>
          <a:lstStyle>
            <a:lvl1pPr>
              <a:defRPr lang="en-US" sz="1600" dirty="0">
                <a:noFill/>
              </a:defRPr>
            </a:lvl1pPr>
          </a:lstStyle>
          <a:p>
            <a:pPr lvl="0"/>
            <a:r>
              <a:rPr lang="en-US"/>
              <a:t>;</a:t>
            </a:r>
          </a:p>
          <a:p>
            <a:pPr lvl="0"/>
            <a:r>
              <a:rPr lang="en-US"/>
              <a:t>two 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4D939A02-61B5-D1D7-71B8-8A7D1755D6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09252" cy="369486"/>
          </a:xfrm>
        </p:spPr>
        <p:txBody>
          <a:bodyPr tIns="0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B1CA16-84C6-14E1-E733-43346BB113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Image-based section divider — dark mode;</a:t>
            </a:r>
            <a:br>
              <a:rPr lang="en-US"/>
            </a:br>
            <a:r>
              <a:rPr lang="en-US"/>
              <a:t>two lines max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289FA9A-0295-0E1A-C9A4-7BD65EA884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4300527-C8A2-0172-79AE-AE615BCA9F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/>
              <a:t>Confidential | Authorized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EED7C3A-EF7B-A456-8330-47B7C30036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929602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92F0FB-D284-3728-3822-439B757959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920874"/>
            <a:ext cx="11411712" cy="412514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72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genda or </a:t>
            </a:r>
            <a:br>
              <a:rPr lang="en-US"/>
            </a:br>
            <a:r>
              <a:rPr lang="en-US"/>
              <a:t>Table of contents (2 lines)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32CB9CD-5485-E8FD-D6DB-C5D5EC2B00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7E062D6-CD06-9D0F-FB32-3258C226CD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/>
              <a:t>Confidential | Authorized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2ED647B5-8E42-81E1-C65C-3E37BE5ADC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409115"/>
      </p:ext>
    </p:extLst>
  </p:cSld>
  <p:clrMapOvr>
    <a:masterClrMapping/>
  </p:clrMapOvr>
  <p:hf hdr="0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92F0FB-D284-3728-3822-439B757959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920874"/>
            <a:ext cx="9518396" cy="412514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72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, subhead, and bullets layout;</a:t>
            </a:r>
            <a:br>
              <a:rPr lang="en-US"/>
            </a:br>
            <a:r>
              <a:rPr lang="en-US"/>
              <a:t>two lines max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FFBC1BB-FEEF-3E3D-E996-3CE737E214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CB0ADBE-FF21-3D44-4496-11B85B3ACC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/>
              <a:t>Confidential | Authorized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FFD2998-F0A4-E739-8FDE-EC4B9E8A6A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285601"/>
      </p:ext>
    </p:extLst>
  </p:cSld>
  <p:clrMapOvr>
    <a:masterClrMapping/>
  </p:clrMapOvr>
  <p:hf hdr="0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92F0FB-D284-3728-3822-439B757959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920874"/>
            <a:ext cx="3631039" cy="412514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48398F-70F4-500F-EAEF-53CE03EBE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5846"/>
          </a:xfrm>
        </p:spPr>
        <p:txBody>
          <a:bodyPr bIns="0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, subhead, three columns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22E6429-C101-AD2A-DCB4-E03828141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7F7F7"/>
                </a:solidFill>
              </a:rPr>
              <a:t>Confidential | Authoriz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0903068-6BAE-3BCC-1012-68974647F4F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8186492" y="1920874"/>
            <a:ext cx="3631039" cy="412514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081B761-AD4D-2AE2-2B3F-177CAADCB95C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4276344" y="1920874"/>
            <a:ext cx="3631039" cy="412514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98369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92F0FB-D284-3728-3822-439B757959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920874"/>
            <a:ext cx="5607886" cy="412514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48398F-70F4-500F-EAEF-53CE03EBE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5846"/>
          </a:xfrm>
        </p:spPr>
        <p:txBody>
          <a:bodyPr bIns="0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, subhead, two columns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22E6429-C101-AD2A-DCB4-E03828141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7F7F7"/>
                </a:solidFill>
              </a:rPr>
              <a:t>Confidential | Authoriz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0903068-6BAE-3BCC-1012-68974647F4F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09211" y="1920874"/>
            <a:ext cx="5608321" cy="412514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063046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48398F-70F4-500F-EAEF-53CE03EBE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5846"/>
          </a:xfrm>
        </p:spPr>
        <p:txBody>
          <a:bodyPr bIns="0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, subhead, one column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22E6429-C101-AD2A-DCB4-E03828141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7F7F7"/>
                </a:solidFill>
              </a:rPr>
              <a:t>Confidential | Authoriz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0903068-6BAE-3BCC-1012-68974647F4F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374651" y="1920874"/>
            <a:ext cx="11442881" cy="412514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883189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92F0FB-D284-3728-3822-439B757959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541418"/>
            <a:ext cx="3631039" cy="4504602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48398F-70F4-500F-EAEF-53CE03EBE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5846"/>
          </a:xfrm>
        </p:spPr>
        <p:txBody>
          <a:bodyPr bIns="0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 only, Three column layout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22E6429-C101-AD2A-DCB4-E03828141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7F7F7"/>
                </a:solidFill>
              </a:rPr>
              <a:t>Confidential | Authoriz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0903068-6BAE-3BCC-1012-68974647F4F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8186492" y="1541418"/>
            <a:ext cx="3631039" cy="4504602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081B761-AD4D-2AE2-2B3F-177CAADCB95C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4276344" y="1541418"/>
            <a:ext cx="3631039" cy="4504602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126164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92F0FB-D284-3728-3822-439B757959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541418"/>
            <a:ext cx="5607886" cy="4504602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48398F-70F4-500F-EAEF-53CE03EBE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5846"/>
          </a:xfrm>
        </p:spPr>
        <p:txBody>
          <a:bodyPr bIns="0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 only, Two column layout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22E6429-C101-AD2A-DCB4-E03828141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7F7F7"/>
                </a:solidFill>
              </a:rPr>
              <a:t>Confidential | Authoriz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0903068-6BAE-3BCC-1012-68974647F4F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09211" y="1541418"/>
            <a:ext cx="5608321" cy="4504602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817708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 Lines, 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48398F-70F4-500F-EAEF-53CE03EBE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5846"/>
          </a:xfrm>
        </p:spPr>
        <p:txBody>
          <a:bodyPr bIns="0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 only, One column layout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22E6429-C101-AD2A-DCB4-E03828141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7F7F7"/>
                </a:solidFill>
              </a:rPr>
              <a:t>Confidential | Authoriz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0903068-6BAE-3BCC-1012-68974647F4F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374651" y="1541418"/>
            <a:ext cx="11442881" cy="4504602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212347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1165860"/>
            <a:ext cx="5523992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165860"/>
            <a:ext cx="5523992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BAE68A-27A7-6C3D-4142-7F3922D49B3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444F98-C525-C008-1B46-B4DCF8808D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4243D16-78B0-BF7E-7EE9-B51138BA7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34827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48398F-70F4-500F-EAEF-53CE03EBE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5846"/>
          </a:xfrm>
        </p:spPr>
        <p:txBody>
          <a:bodyPr bIns="0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 only, Three pictures with text field below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22E6429-C101-AD2A-DCB4-E03828141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7F7F7"/>
                </a:solidFill>
              </a:rPr>
              <a:t>Confidential | Authoriz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2EF045D-7BFC-7EA8-66D2-1B502EA0593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74650" y="1541463"/>
            <a:ext cx="3630613" cy="3632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PL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F3B0A2B-FF0A-416A-4374-3AB51B71B8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4650" y="5242561"/>
            <a:ext cx="3630613" cy="8042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322262" indent="0">
              <a:buNone/>
              <a:defRPr/>
            </a:lvl3pPr>
            <a:lvl4pPr marL="6429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text box </a:t>
            </a: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FB34293B-6D02-088D-038C-1AC8158D8C6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86238" y="1541463"/>
            <a:ext cx="3630613" cy="3632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PL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CCDBEBF8-A8F7-61A2-3755-A22CC8D6A0F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86238" y="5242561"/>
            <a:ext cx="3630613" cy="8042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322262" indent="0">
              <a:buNone/>
              <a:defRPr/>
            </a:lvl3pPr>
            <a:lvl4pPr marL="6429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text box </a:t>
            </a: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34ADF1E8-A1A6-59DC-8968-2C3629DA8AD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280444" y="1541463"/>
            <a:ext cx="3630613" cy="3632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PL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79958740-74AE-101C-E0DB-2A2751DC82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80444" y="5242561"/>
            <a:ext cx="3630613" cy="8042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322262" indent="0">
              <a:buNone/>
              <a:defRPr/>
            </a:lvl3pPr>
            <a:lvl4pPr marL="6429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text box </a:t>
            </a:r>
          </a:p>
        </p:txBody>
      </p:sp>
    </p:spTree>
    <p:extLst>
      <p:ext uri="{BB962C8B-B14F-4D97-AF65-F5344CB8AC3E}">
        <p14:creationId xmlns:p14="http://schemas.microsoft.com/office/powerpoint/2010/main" val="35707771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48398F-70F4-500F-EAEF-53CE03EBE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5846"/>
          </a:xfrm>
        </p:spPr>
        <p:txBody>
          <a:bodyPr bIns="0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 only, Two pictures with text field below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22E6429-C101-AD2A-DCB4-E03828141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10650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7F7F7"/>
                </a:solidFill>
              </a:rPr>
              <a:t>Confidential | Authorized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D631A607-E39C-536B-2E2B-85418CE43E6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74650" y="1541463"/>
            <a:ext cx="5607886" cy="3632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PL"/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95B11304-C396-1AEE-73F2-2778EFD8E30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4650" y="5242561"/>
            <a:ext cx="5607886" cy="8042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322262" indent="0">
              <a:buNone/>
              <a:defRPr/>
            </a:lvl3pPr>
            <a:lvl4pPr marL="6429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text box 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2990CF69-FB2F-44A9-D600-541E0C54A5C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09393" y="1541463"/>
            <a:ext cx="5607886" cy="3632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PL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75A67950-C2B8-E4AC-BD4C-F366BFE6432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09393" y="5242561"/>
            <a:ext cx="5607886" cy="8042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322262" indent="0">
              <a:buNone/>
              <a:defRPr/>
            </a:lvl3pPr>
            <a:lvl4pPr marL="6429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text box </a:t>
            </a:r>
          </a:p>
        </p:txBody>
      </p:sp>
    </p:spTree>
    <p:extLst>
      <p:ext uri="{BB962C8B-B14F-4D97-AF65-F5344CB8AC3E}">
        <p14:creationId xmlns:p14="http://schemas.microsoft.com/office/powerpoint/2010/main" val="8830044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dge-To-Edge Pictur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8FCE505C-029E-308C-D408-35D40C6B0E6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  <a:lumOff val="10000"/>
            </a:schemeClr>
          </a:solidFill>
        </p:spPr>
        <p:txBody>
          <a:bodyPr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Image placeholder</a:t>
            </a:r>
          </a:p>
        </p:txBody>
      </p:sp>
    </p:spTree>
    <p:extLst>
      <p:ext uri="{BB962C8B-B14F-4D97-AF65-F5344CB8AC3E}">
        <p14:creationId xmlns:p14="http://schemas.microsoft.com/office/powerpoint/2010/main" val="24406893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65D114A-B92C-774A-2832-F1D69FB6BB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and subtitle, blank layout — dark mode;</a:t>
            </a:r>
            <a:br>
              <a:rPr lang="en-US"/>
            </a:br>
            <a:r>
              <a:rPr lang="en-US"/>
              <a:t>two lines max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4A44F5C-6831-516B-3BF0-A233A179F2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DFF271EA-72B4-A58F-CF86-BACE43C0BA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/>
              <a:t>Confidential | Authorized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216AF2C-5E06-496C-D0F9-CD2D21DD7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119EEF8C-7505-DBFC-1D53-7900BAF3F4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</p:spTree>
    <p:extLst>
      <p:ext uri="{BB962C8B-B14F-4D97-AF65-F5344CB8AC3E}">
        <p14:creationId xmlns:p14="http://schemas.microsoft.com/office/powerpoint/2010/main" val="42345566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2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65D114A-B92C-774A-2832-F1D69FB6BB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only, blank layout — dark mode;</a:t>
            </a:r>
            <a:br>
              <a:rPr lang="en-US"/>
            </a:br>
            <a:r>
              <a:rPr lang="en-US"/>
              <a:t>two lines max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4A44F5C-6831-516B-3BF0-A233A179F2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DFF271EA-72B4-A58F-CF86-BACE43C0BA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/>
              <a:t>Confidential | Authorized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216AF2C-5E06-496C-D0F9-CD2D21DD7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8518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34A44F5C-6831-516B-3BF0-A233A179F2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DFF271EA-72B4-A58F-CF86-BACE43C0BA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/>
              <a:t>Confidential | Authorized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216AF2C-5E06-496C-D0F9-CD2D21DD7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6405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2258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67DBD27B-93CF-6EF3-CBB8-D8F8F65225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wo content layout;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74622F42-A279-E640-6E4E-8F8CBDE40F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09252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48AE2703-9EE3-C742-DBB1-DC8804D3A07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74904" y="1920875"/>
            <a:ext cx="4709809" cy="4130675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600"/>
            </a:lvl5pPr>
          </a:lstStyle>
          <a:p>
            <a:r>
              <a:rPr lang="en-US"/>
              <a:t>Body copy Content level one: Two column slides have two equal width columns, each of which can be used for text, tables, charts, graphics, or images. </a:t>
            </a:r>
          </a:p>
          <a:p>
            <a:pPr lvl="1"/>
            <a:r>
              <a:rPr lang="en-US"/>
              <a:t>Bullet level two</a:t>
            </a:r>
          </a:p>
          <a:p>
            <a:pPr lvl="2"/>
            <a:r>
              <a:rPr lang="en-US"/>
              <a:t>Bullet level three</a:t>
            </a:r>
          </a:p>
          <a:p>
            <a:pPr lvl="3"/>
            <a:r>
              <a:rPr lang="en-US"/>
              <a:t>Bullet level four</a:t>
            </a: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90EF31A4-DF72-16BA-951B-C09FD1906A8C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36004" y="1920875"/>
            <a:ext cx="4709796" cy="4130675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600"/>
            </a:lvl5pPr>
          </a:lstStyle>
          <a:p>
            <a:r>
              <a:rPr lang="en-US"/>
              <a:t>Body copy Content level one: Two column slides have two equal width columns, each of which can be used for text, tables, charts, graphics, or images. </a:t>
            </a:r>
          </a:p>
          <a:p>
            <a:pPr lvl="1"/>
            <a:r>
              <a:rPr lang="en-US"/>
              <a:t>Bullet level two</a:t>
            </a:r>
          </a:p>
          <a:p>
            <a:pPr lvl="2"/>
            <a:r>
              <a:rPr lang="en-US"/>
              <a:t>Bullet level three</a:t>
            </a:r>
          </a:p>
          <a:p>
            <a:pPr lvl="3"/>
            <a:r>
              <a:rPr lang="en-US"/>
              <a:t>Bullet level four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BF112F0-85FD-9CE5-8469-36CEE8F52D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5CDEFF-4333-3580-89A2-17D0B21F73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pPr>
              <a:defRPr/>
            </a:pPr>
            <a:r>
              <a:rPr lang="en-US"/>
              <a:t>Confidential | Authorized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A862A34-9424-6C29-6EEC-E18FF108B1C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6895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Picture and Caption,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3D244D9-326C-937C-4B8E-43F52273E32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210050" y="0"/>
            <a:ext cx="7981950" cy="6858000"/>
          </a:xfrm>
          <a:solidFill>
            <a:schemeClr val="tx1">
              <a:lumMod val="90000"/>
              <a:lumOff val="10000"/>
            </a:schemeClr>
          </a:solidFill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US"/>
              <a:t>Image placeholder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B51BF595-61DC-BF12-7456-F1E85E5DD0A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4904" y="1920240"/>
            <a:ext cx="2789613" cy="4130200"/>
          </a:xfrm>
        </p:spPr>
        <p:txBody>
          <a:bodyPr/>
          <a:lstStyle>
            <a:lvl1pPr>
              <a:defRPr sz="1800"/>
            </a:lvl1pPr>
            <a:lvl2pPr marL="0" indent="-320040">
              <a:buFont typeface="Arial" panose="020B0604020202020204" pitchFamily="34" charset="0"/>
              <a:buChar char="•"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B5CDF8B-3973-89BC-B0C3-0099168110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2793185" cy="83782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ontent slide — dark mode</a:t>
            </a:r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3B65148A-F9D2-126F-B388-E0EF3EAE45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94255" y="4073237"/>
            <a:ext cx="3897745" cy="2784764"/>
          </a:xfrm>
          <a:gradFill flip="none" rotWithShape="1">
            <a:gsLst>
              <a:gs pos="14000">
                <a:srgbClr val="05CC93"/>
              </a:gs>
              <a:gs pos="41000">
                <a:srgbClr val="05CC93">
                  <a:alpha val="80353"/>
                </a:srgbClr>
              </a:gs>
              <a:gs pos="85000">
                <a:schemeClr val="bg1">
                  <a:alpha val="0"/>
                </a:schemeClr>
              </a:gs>
            </a:gsLst>
            <a:lin ang="2700000" scaled="1"/>
            <a:tileRect/>
          </a:gradFill>
        </p:spPr>
        <p:txBody>
          <a:bodyPr vert="horz" lIns="274320" tIns="274320" rIns="182880" bIns="182880" rtlCol="0">
            <a:noAutofit/>
          </a:bodyPr>
          <a:lstStyle>
            <a:lvl1pPr>
              <a:defRPr lang="en-US" sz="6000" dirty="0">
                <a:solidFill>
                  <a:sysClr val="windowText" lastClr="000000"/>
                </a:solidFill>
              </a:defRPr>
            </a:lvl1pPr>
            <a:lvl2pPr>
              <a:defRPr lang="en-US" dirty="0">
                <a:solidFill>
                  <a:sysClr val="windowText" lastClr="000000"/>
                </a:solidFill>
              </a:defRPr>
            </a:lvl2pPr>
          </a:lstStyle>
          <a:p>
            <a:pPr lvl="0">
              <a:lnSpc>
                <a:spcPct val="90000"/>
              </a:lnSpc>
            </a:pPr>
            <a:r>
              <a:rPr lang="en-US"/>
              <a:t>XX%</a:t>
            </a:r>
          </a:p>
          <a:p>
            <a:pPr lvl="1" indent="0">
              <a:lnSpc>
                <a:spcPct val="90000"/>
              </a:lnSpc>
              <a:spcBef>
                <a:spcPts val="1200"/>
              </a:spcBef>
              <a:buFontTx/>
              <a:buNone/>
            </a:pPr>
            <a:r>
              <a:rPr lang="en-US"/>
              <a:t>Lorem ipsum dolor </a:t>
            </a:r>
            <a:br>
              <a:rPr lang="en-US"/>
            </a:br>
            <a:r>
              <a:rPr lang="en-US"/>
              <a:t>sit </a:t>
            </a:r>
            <a:r>
              <a:rPr lang="en-US" err="1"/>
              <a:t>amet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8CC9CBA-B2F7-A530-B8F7-C96745CEE8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2F5162B8-4D59-652C-4CBC-608B21216C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8AE1AB4-3206-3EDF-C809-F5345BD7C6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6948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urpos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089B2A1-DF32-2EE7-EB26-972DC589CF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222750" y="1920875"/>
            <a:ext cx="7586664" cy="4130674"/>
          </a:xfrm>
        </p:spPr>
        <p:txBody>
          <a:bodyPr/>
          <a:lstStyle>
            <a:lvl1pPr>
              <a:defRPr sz="1800"/>
            </a:lvl1pPr>
            <a:lvl2pPr marL="0" indent="-320040">
              <a:buFont typeface="Arial" panose="020B0604020202020204" pitchFamily="34" charset="0"/>
              <a:buChar char="•"/>
              <a:defRPr sz="1800"/>
            </a:lvl2pPr>
            <a:lvl3pPr>
              <a:defRPr sz="1800"/>
            </a:lvl3pPr>
            <a:lvl4pPr>
              <a:defRPr sz="1800"/>
            </a:lvl4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B08B55F1-5C91-C971-B57A-7FBF9B68D0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5D114A-B92C-774A-2832-F1D69FB6BB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Multipurpose layout — dark mode;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D4FA7D4-85E6-6F3F-E547-F8B617F71E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4904" y="1920874"/>
            <a:ext cx="2789613" cy="4130675"/>
          </a:xfrm>
        </p:spPr>
        <p:txBody>
          <a:bodyPr/>
          <a:lstStyle>
            <a:lvl1pPr>
              <a:defRPr sz="1800"/>
            </a:lvl1pPr>
            <a:lvl2pPr marL="0" indent="-320040">
              <a:buFont typeface="Arial" panose="020B0604020202020204" pitchFamily="34" charset="0"/>
              <a:buChar char="•"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4A44F5C-6831-516B-3BF0-A233A179F2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DFF271EA-72B4-A58F-CF86-BACE43C0BA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216AF2C-5E06-496C-D0F9-CD2D21DD7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71440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541417"/>
            <a:ext cx="5523992" cy="4729841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4413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anization Char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72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Organization chart — dark mode;</a:t>
            </a:r>
            <a:br>
              <a:rPr lang="en-US"/>
            </a:br>
            <a:r>
              <a:rPr lang="en-US"/>
              <a:t>two lines max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FE3577A-6CF0-5F9D-A157-798EA2840C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4650" y="1912022"/>
            <a:ext cx="1847850" cy="557784"/>
          </a:xfrm>
          <a:ln w="19050">
            <a:solidFill>
              <a:srgbClr val="01A982"/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CA2ADB7-6624-CE70-6905-FDA8DF924D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33650" y="1912022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6C39D5C0-2311-CA36-1A29-07D197D746A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33650" y="2848991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347C8A82-911A-6ED6-74CE-A8F44251580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4650" y="2848991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FE237EEC-D099-9C9F-3E6C-8A0A471E29D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33650" y="3491144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8938B60F-47C9-17B5-EEC2-36626FB1504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650" y="3491144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66432C04-C4F7-89CB-A0BA-429F72BF534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533650" y="4133297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0A9CCDC7-4311-87E1-16F0-FC799E5C27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4650" y="4133297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8A8BE9A8-FEBD-A8C2-DBD5-813DFF88EFA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533650" y="4773041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DD9B15F5-A7AC-826A-4857-C8D3B6A86F4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74650" y="4773041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A6A814E-0AF2-EA2F-A0FE-A40765257AE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533650" y="5417602"/>
            <a:ext cx="1847850" cy="557784"/>
          </a:xfrm>
          <a:ln w="19050">
            <a:solidFill>
              <a:schemeClr val="bg1">
                <a:lumMod val="75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1CCEC6A9-F359-6FB3-ED32-7FEA41FE894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74650" y="5417602"/>
            <a:ext cx="1847850" cy="557784"/>
          </a:xfrm>
          <a:ln w="19050">
            <a:solidFill>
              <a:schemeClr val="bg1">
                <a:lumMod val="75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2A49A317-396F-46D5-C526-6D75D108A27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855393" y="5417602"/>
            <a:ext cx="1847850" cy="557784"/>
          </a:xfrm>
          <a:ln w="19050">
            <a:solidFill>
              <a:schemeClr val="bg1">
                <a:lumMod val="75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BD9F1813-8EE2-ED4F-852C-A89E7C67D7F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7269" y="5417602"/>
            <a:ext cx="1847850" cy="557784"/>
          </a:xfrm>
          <a:ln w="19050">
            <a:solidFill>
              <a:schemeClr val="bg1">
                <a:lumMod val="75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C081D5EB-4765-7E96-2DB7-89CB5EFE070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008341" y="5417602"/>
            <a:ext cx="1847850" cy="557784"/>
          </a:xfrm>
          <a:ln w="19050">
            <a:solidFill>
              <a:schemeClr val="bg1">
                <a:lumMod val="75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F7ED29CB-985F-8F41-D08B-329ECEEE0F3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97269" y="2848991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824AD230-85CD-80DB-479D-21531F706E1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697269" y="3491144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5FA9EBB4-F5A9-8BA6-217D-E22B54E7084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697269" y="4133297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A9D57ABC-54D5-A6D0-5327-7CC0C305139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855393" y="2848991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779855A3-8528-23F0-0673-5EC03B80952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55393" y="3491144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6E573420-625A-B90A-8301-4CEC2ECB518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008341" y="2848991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3C34C287-551E-5A97-93A9-5FF1901EE37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08341" y="3491144"/>
            <a:ext cx="1847850" cy="557784"/>
          </a:xfr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3279F1B9-4372-FD81-3812-A484BAE1DBF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855393" y="4133297"/>
            <a:ext cx="1847850" cy="557784"/>
          </a:xfrm>
          <a:ln w="19050">
            <a:solidFill>
              <a:schemeClr val="accent2"/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63D079B2-6EAD-F8DD-C927-9C4C0079634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008341" y="4133297"/>
            <a:ext cx="1847850" cy="557784"/>
          </a:xfrm>
          <a:ln w="19050">
            <a:solidFill>
              <a:schemeClr val="accent2"/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40ACC774-A6CD-6EA5-B798-8E7F3FB10E9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855393" y="4773041"/>
            <a:ext cx="1847850" cy="557784"/>
          </a:xfrm>
          <a:ln w="19050">
            <a:solidFill>
              <a:schemeClr val="accent2"/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114134C8-2EC9-F745-F507-B69D412D5B6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008341" y="4773041"/>
            <a:ext cx="1847850" cy="557784"/>
          </a:xfrm>
          <a:ln w="19050">
            <a:solidFill>
              <a:schemeClr val="accent2"/>
            </a:solidFill>
          </a:ln>
        </p:spPr>
        <p:txBody>
          <a:bodyPr lIns="182880" tIns="73152" rIns="182880" bIns="73152"/>
          <a:lstStyle>
            <a:lvl1pPr>
              <a:defRPr sz="1200"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Insert name</a:t>
            </a:r>
          </a:p>
          <a:p>
            <a:pPr lvl="1"/>
            <a:r>
              <a:rPr lang="en-US"/>
              <a:t>Insert title can run to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0FB1AD03-CF7E-482B-2804-5DEF97C88A4D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0924117" y="1929883"/>
            <a:ext cx="100584" cy="101642"/>
          </a:xfrm>
          <a:prstGeom prst="rect">
            <a:avLst/>
          </a:prstGeom>
          <a:ln w="19050">
            <a:solidFill>
              <a:schemeClr val="accent1"/>
            </a:solidFill>
            <a:miter lim="800000"/>
          </a:ln>
        </p:spPr>
        <p:txBody>
          <a:bodyPr lIns="182880" tIns="91440" rIns="182880" bIns="91440"/>
          <a:lstStyle>
            <a:lvl1pPr>
              <a:defRPr sz="100">
                <a:noFill/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93F0AC52-420B-6F2F-942F-AAD680B14AC9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0926234" y="2095623"/>
            <a:ext cx="100584" cy="101642"/>
          </a:xfrm>
          <a:prstGeom prst="rect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  <a:miter lim="800000"/>
          </a:ln>
        </p:spPr>
        <p:txBody>
          <a:bodyPr lIns="182880" tIns="91440" rIns="182880" bIns="91440"/>
          <a:lstStyle>
            <a:lvl1pPr>
              <a:defRPr sz="100">
                <a:noFill/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7B89C8CE-A764-610B-A2EB-78249F882FC1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0922000" y="2268172"/>
            <a:ext cx="100584" cy="101642"/>
          </a:xfrm>
          <a:prstGeom prst="rect">
            <a:avLst/>
          </a:prstGeom>
          <a:ln w="19050">
            <a:solidFill>
              <a:schemeClr val="accent2"/>
            </a:solidFill>
            <a:miter lim="800000"/>
          </a:ln>
        </p:spPr>
        <p:txBody>
          <a:bodyPr lIns="182880" tIns="91440" rIns="182880" bIns="91440"/>
          <a:lstStyle>
            <a:lvl1pPr>
              <a:defRPr sz="100">
                <a:noFill/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5">
            <a:extLst>
              <a:ext uri="{FF2B5EF4-FFF2-40B4-BE49-F238E27FC236}">
                <a16:creationId xmlns:a16="http://schemas.microsoft.com/office/drawing/2014/main" id="{D13D72BF-1281-43D9-E991-D06F2D0A66D1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0922000" y="2442443"/>
            <a:ext cx="100584" cy="101642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  <a:miter lim="800000"/>
          </a:ln>
        </p:spPr>
        <p:txBody>
          <a:bodyPr lIns="182880" tIns="91440" rIns="182880" bIns="91440"/>
          <a:lstStyle>
            <a:lvl1pPr>
              <a:defRPr sz="100">
                <a:noFill/>
                <a:latin typeface="HPE Graphik Semibold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4E40D3BA-3F5A-80F7-E355-C7B01A7E45F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098785" y="1885564"/>
            <a:ext cx="710097" cy="145961"/>
          </a:xfrm>
          <a:ln w="19050">
            <a:noFill/>
          </a:ln>
        </p:spPr>
        <p:txBody>
          <a:bodyPr lIns="0" tIns="0" rIns="0" bIns="0"/>
          <a:lstStyle>
            <a:lvl1pPr>
              <a:defRPr sz="900">
                <a:latin typeface="HPE Graphik Light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latin typeface="+mn-lt"/>
              </a:defRPr>
            </a:lvl2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11F6C029-CC17-4BCB-C56C-D0176D381A8E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1098785" y="2061247"/>
            <a:ext cx="710097" cy="145961"/>
          </a:xfrm>
          <a:ln w="19050">
            <a:noFill/>
          </a:ln>
        </p:spPr>
        <p:txBody>
          <a:bodyPr lIns="0" tIns="0" rIns="0" bIns="0"/>
          <a:lstStyle>
            <a:lvl1pPr>
              <a:defRPr sz="900">
                <a:latin typeface="HPE Graphik Light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latin typeface="+mn-lt"/>
              </a:defRPr>
            </a:lvl2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A6EC919C-28A5-60F5-453D-030617D6F7E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1098785" y="2234814"/>
            <a:ext cx="710097" cy="145961"/>
          </a:xfrm>
          <a:ln w="19050">
            <a:noFill/>
          </a:ln>
        </p:spPr>
        <p:txBody>
          <a:bodyPr lIns="0" tIns="0" rIns="0" bIns="0"/>
          <a:lstStyle>
            <a:lvl1pPr>
              <a:defRPr sz="900">
                <a:latin typeface="HPE Graphik Light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latin typeface="+mn-lt"/>
              </a:defRPr>
            </a:lvl2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C6275BD4-3BD2-47C3-4FB8-7EA1412A5B0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1098785" y="2406264"/>
            <a:ext cx="710097" cy="145961"/>
          </a:xfrm>
          <a:ln w="19050">
            <a:noFill/>
          </a:ln>
        </p:spPr>
        <p:txBody>
          <a:bodyPr lIns="0" tIns="0" rIns="0" bIns="0"/>
          <a:lstStyle>
            <a:lvl1pPr>
              <a:defRPr sz="900">
                <a:latin typeface="HPE Graphik Light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latin typeface="+mn-lt"/>
              </a:defRPr>
            </a:lvl2pPr>
          </a:lstStyle>
          <a:p>
            <a:pPr lvl="0"/>
            <a:r>
              <a:rPr lang="en-US"/>
              <a:t>Text her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157FFD5-B71F-DB30-4FE1-F2F940E06D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7C10CE85-FD44-9262-1CE8-00261AE764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6C030B3-9261-6DC1-47AE-6C55F605F2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1132692"/>
      </p:ext>
    </p:extLst>
  </p:cSld>
  <p:clrMapOvr>
    <a:masterClrMapping/>
  </p:clrMapOvr>
  <p:hf hdr="0"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us Char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09401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21571" cy="7772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tatus chart — dark mode;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EFC121-C39E-32A8-9C37-4E92845A0DE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4650" y="1920774"/>
            <a:ext cx="3841750" cy="414867"/>
          </a:xfrm>
          <a:solidFill>
            <a:schemeClr val="accent1"/>
          </a:solidFill>
        </p:spPr>
        <p:txBody>
          <a:bodyPr lIns="182880" tIns="91440" rIns="182880" bIns="91440" anchor="ctr" anchorCtr="0">
            <a:noAutofit/>
          </a:bodyPr>
          <a:lstStyle>
            <a:lvl1pPr>
              <a:defRPr sz="1600">
                <a:solidFill>
                  <a:schemeClr val="tx1"/>
                </a:solidFill>
                <a:latin typeface="HPE Graphik Light" pitchFamily="50" charset="0"/>
              </a:defRPr>
            </a:lvl1pPr>
            <a:lvl2pPr>
              <a:defRPr sz="1600">
                <a:solidFill>
                  <a:schemeClr val="bg1"/>
                </a:solidFill>
                <a:latin typeface="+mj-lt"/>
              </a:defRPr>
            </a:lvl2pPr>
            <a:lvl3pPr>
              <a:defRPr sz="1600">
                <a:solidFill>
                  <a:schemeClr val="bg1"/>
                </a:solidFill>
                <a:latin typeface="+mj-lt"/>
              </a:defRPr>
            </a:lvl3pPr>
            <a:lvl4pPr>
              <a:defRPr sz="1600">
                <a:solidFill>
                  <a:schemeClr val="bg1"/>
                </a:solidFill>
                <a:latin typeface="+mj-lt"/>
              </a:defRPr>
            </a:lvl4pPr>
            <a:lvl5pPr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Project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99E12516-E5A9-ADA6-1318-26B6C035B21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42317" y="1920774"/>
            <a:ext cx="5824007" cy="414867"/>
          </a:xfrm>
          <a:solidFill>
            <a:schemeClr val="accent1"/>
          </a:solidFill>
        </p:spPr>
        <p:txBody>
          <a:bodyPr lIns="182880" tIns="91440" rIns="182880" bIns="91440" anchor="ctr" anchorCtr="0">
            <a:noAutofit/>
          </a:bodyPr>
          <a:lstStyle>
            <a:lvl1pPr>
              <a:defRPr sz="1600">
                <a:solidFill>
                  <a:schemeClr val="tx1"/>
                </a:solidFill>
                <a:latin typeface="HPE Graphik Light" pitchFamily="50" charset="0"/>
              </a:defRPr>
            </a:lvl1pPr>
            <a:lvl2pPr>
              <a:defRPr sz="1600">
                <a:solidFill>
                  <a:schemeClr val="bg1"/>
                </a:solidFill>
                <a:latin typeface="+mj-lt"/>
              </a:defRPr>
            </a:lvl2pPr>
            <a:lvl3pPr>
              <a:defRPr sz="1600">
                <a:solidFill>
                  <a:schemeClr val="bg1"/>
                </a:solidFill>
                <a:latin typeface="+mj-lt"/>
              </a:defRPr>
            </a:lvl3pPr>
            <a:lvl4pPr>
              <a:defRPr sz="1600">
                <a:solidFill>
                  <a:schemeClr val="bg1"/>
                </a:solidFill>
                <a:latin typeface="+mj-lt"/>
              </a:defRPr>
            </a:lvl4pPr>
            <a:lvl5pPr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Progress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7156978D-6B70-E273-8051-86BDCAE401F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896475" y="1920774"/>
            <a:ext cx="1914525" cy="414867"/>
          </a:xfrm>
          <a:solidFill>
            <a:schemeClr val="accent1"/>
          </a:solidFill>
        </p:spPr>
        <p:txBody>
          <a:bodyPr lIns="182880" tIns="91440" rIns="182880" bIns="91440" anchor="ctr" anchorCtr="0">
            <a:noAutofit/>
          </a:bodyPr>
          <a:lstStyle>
            <a:lvl1pPr>
              <a:defRPr sz="1600">
                <a:solidFill>
                  <a:schemeClr val="tx1"/>
                </a:solidFill>
                <a:latin typeface="HPE Graphik Light" pitchFamily="50" charset="0"/>
              </a:defRPr>
            </a:lvl1pPr>
            <a:lvl2pPr>
              <a:defRPr sz="1600">
                <a:solidFill>
                  <a:schemeClr val="bg1"/>
                </a:solidFill>
                <a:latin typeface="+mj-lt"/>
              </a:defRPr>
            </a:lvl2pPr>
            <a:lvl3pPr>
              <a:defRPr sz="1600">
                <a:solidFill>
                  <a:schemeClr val="bg1"/>
                </a:solidFill>
                <a:latin typeface="+mj-lt"/>
              </a:defRPr>
            </a:lvl3pPr>
            <a:lvl4pPr>
              <a:defRPr sz="1600">
                <a:solidFill>
                  <a:schemeClr val="bg1"/>
                </a:solidFill>
                <a:latin typeface="+mj-lt"/>
              </a:defRPr>
            </a:lvl4pPr>
            <a:lvl5pPr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Status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5E741012-90C5-C09A-EA36-74EEC4CB46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64514" y="2424649"/>
            <a:ext cx="2616835" cy="639126"/>
          </a:xfrm>
        </p:spPr>
        <p:txBody>
          <a:bodyPr tIns="0" rIns="0" bIns="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48" name="Text Placeholder 46">
            <a:extLst>
              <a:ext uri="{FF2B5EF4-FFF2-40B4-BE49-F238E27FC236}">
                <a16:creationId xmlns:a16="http://schemas.microsoft.com/office/drawing/2014/main" id="{E701087E-7F47-2AA2-BB86-6BF3D4CB5B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64514" y="3262850"/>
            <a:ext cx="2616835" cy="639126"/>
          </a:xfrm>
        </p:spPr>
        <p:txBody>
          <a:bodyPr tIns="0" rIns="0" bIns="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49" name="Text Placeholder 46">
            <a:extLst>
              <a:ext uri="{FF2B5EF4-FFF2-40B4-BE49-F238E27FC236}">
                <a16:creationId xmlns:a16="http://schemas.microsoft.com/office/drawing/2014/main" id="{3CA39632-9533-B8D0-90C2-0C0508F16AA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4514" y="4109516"/>
            <a:ext cx="2616835" cy="639126"/>
          </a:xfrm>
        </p:spPr>
        <p:txBody>
          <a:bodyPr tIns="0" rIns="0" bIns="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50" name="Text Placeholder 46">
            <a:extLst>
              <a:ext uri="{FF2B5EF4-FFF2-40B4-BE49-F238E27FC236}">
                <a16:creationId xmlns:a16="http://schemas.microsoft.com/office/drawing/2014/main" id="{B137E6BB-CE0A-95CF-2F1D-B1C9084854C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4514" y="4956184"/>
            <a:ext cx="2616835" cy="639126"/>
          </a:xfrm>
        </p:spPr>
        <p:txBody>
          <a:bodyPr tIns="0" rIns="0" bIns="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52" name="Text Placeholder 46">
            <a:extLst>
              <a:ext uri="{FF2B5EF4-FFF2-40B4-BE49-F238E27FC236}">
                <a16:creationId xmlns:a16="http://schemas.microsoft.com/office/drawing/2014/main" id="{E22E70C2-95FC-BA06-C992-D692512AAB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40648" y="3262850"/>
            <a:ext cx="4591685" cy="639126"/>
          </a:xfrm>
        </p:spPr>
        <p:txBody>
          <a:bodyPr tIns="0" rIns="0" bIns="0"/>
          <a:lstStyle>
            <a:lvl1pPr>
              <a:defRPr lang="en-US" sz="1400" kern="1200" dirty="0">
                <a:solidFill>
                  <a:schemeClr val="bg1"/>
                </a:solidFill>
                <a:latin typeface="HPE Graphik Light" pitchFamily="50" charset="0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/>
              <a:t>Details here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/>
              <a:t>Details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Details here</a:t>
            </a:r>
          </a:p>
        </p:txBody>
      </p:sp>
      <p:sp>
        <p:nvSpPr>
          <p:cNvPr id="53" name="Text Placeholder 46">
            <a:extLst>
              <a:ext uri="{FF2B5EF4-FFF2-40B4-BE49-F238E27FC236}">
                <a16:creationId xmlns:a16="http://schemas.microsoft.com/office/drawing/2014/main" id="{98ACE788-89F7-F8E5-03AE-8D9644BDEBA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40648" y="4109516"/>
            <a:ext cx="4591685" cy="639126"/>
          </a:xfrm>
        </p:spPr>
        <p:txBody>
          <a:bodyPr tIns="0" rIns="0" bIns="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/>
              <a:t>Details here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/>
              <a:t>Details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Details here</a:t>
            </a:r>
          </a:p>
        </p:txBody>
      </p:sp>
      <p:sp>
        <p:nvSpPr>
          <p:cNvPr id="54" name="Text Placeholder 46">
            <a:extLst>
              <a:ext uri="{FF2B5EF4-FFF2-40B4-BE49-F238E27FC236}">
                <a16:creationId xmlns:a16="http://schemas.microsoft.com/office/drawing/2014/main" id="{03559B90-5E5C-3F78-9776-7F6007C501D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40648" y="4956184"/>
            <a:ext cx="4591685" cy="639126"/>
          </a:xfrm>
        </p:spPr>
        <p:txBody>
          <a:bodyPr tIns="0" rIns="0" bIns="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/>
              <a:t>Details here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/>
              <a:t>Details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Details here</a:t>
            </a:r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A36DCE86-CFA3-CEEF-0164-76A8820BE11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0095536" y="2624053"/>
            <a:ext cx="338328" cy="338328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55">
            <a:extLst>
              <a:ext uri="{FF2B5EF4-FFF2-40B4-BE49-F238E27FC236}">
                <a16:creationId xmlns:a16="http://schemas.microsoft.com/office/drawing/2014/main" id="{8CEBF3D6-4499-554E-3F85-49D8BBCB1AA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0095536" y="3462253"/>
            <a:ext cx="338328" cy="338328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55">
            <a:extLst>
              <a:ext uri="{FF2B5EF4-FFF2-40B4-BE49-F238E27FC236}">
                <a16:creationId xmlns:a16="http://schemas.microsoft.com/office/drawing/2014/main" id="{5D25FD90-1AA6-FBAD-4D47-DB647CC51AE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0095536" y="4304687"/>
            <a:ext cx="338328" cy="338328"/>
          </a:xfrm>
          <a:prstGeom prst="ellipse">
            <a:avLst/>
          </a:prstGeom>
          <a:solidFill>
            <a:srgbClr val="DEB146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55">
            <a:extLst>
              <a:ext uri="{FF2B5EF4-FFF2-40B4-BE49-F238E27FC236}">
                <a16:creationId xmlns:a16="http://schemas.microsoft.com/office/drawing/2014/main" id="{C6D715A7-C962-6E51-B4A2-67A7CE85C9A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0095536" y="5130187"/>
            <a:ext cx="338328" cy="338328"/>
          </a:xfrm>
          <a:prstGeom prst="ellipse">
            <a:avLst/>
          </a:prstGeom>
          <a:solidFill>
            <a:srgbClr val="C64F3A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55">
            <a:extLst>
              <a:ext uri="{FF2B5EF4-FFF2-40B4-BE49-F238E27FC236}">
                <a16:creationId xmlns:a16="http://schemas.microsoft.com/office/drawing/2014/main" id="{685F12DA-6C9D-4A9E-AF03-74EC008BF71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0922000" y="5852160"/>
            <a:ext cx="88900" cy="88900"/>
          </a:xfrm>
          <a:prstGeom prst="ellipse">
            <a:avLst/>
          </a:prstGeom>
          <a:solidFill>
            <a:srgbClr val="C64F3A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55">
            <a:extLst>
              <a:ext uri="{FF2B5EF4-FFF2-40B4-BE49-F238E27FC236}">
                <a16:creationId xmlns:a16="http://schemas.microsoft.com/office/drawing/2014/main" id="{C769972C-75C7-1D89-A16E-49DBF65AB7A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970608" y="5852160"/>
            <a:ext cx="88900" cy="88900"/>
          </a:xfrm>
          <a:prstGeom prst="ellipse">
            <a:avLst/>
          </a:prstGeom>
          <a:solidFill>
            <a:srgbClr val="DEB146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Text Placeholder 55">
            <a:extLst>
              <a:ext uri="{FF2B5EF4-FFF2-40B4-BE49-F238E27FC236}">
                <a16:creationId xmlns:a16="http://schemas.microsoft.com/office/drawing/2014/main" id="{CDDC302A-E9B8-5649-A79B-1D51DF0A62D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015984" y="5852160"/>
            <a:ext cx="88900" cy="88900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5">
            <a:extLst>
              <a:ext uri="{FF2B5EF4-FFF2-40B4-BE49-F238E27FC236}">
                <a16:creationId xmlns:a16="http://schemas.microsoft.com/office/drawing/2014/main" id="{10C6F9AA-F461-8CFE-D41F-64EAFE48D2E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130286" y="5824728"/>
            <a:ext cx="754019" cy="145961"/>
          </a:xfrm>
          <a:ln w="19050">
            <a:noFill/>
          </a:ln>
        </p:spPr>
        <p:txBody>
          <a:bodyPr lIns="0" tIns="0" rIns="0" bIns="0"/>
          <a:lstStyle>
            <a:lvl1pPr>
              <a:defRPr sz="900">
                <a:latin typeface="HPE Graphik Light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latin typeface="+mn-lt"/>
              </a:defRPr>
            </a:lvl2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64" name="Text Placeholder 5">
            <a:extLst>
              <a:ext uri="{FF2B5EF4-FFF2-40B4-BE49-F238E27FC236}">
                <a16:creationId xmlns:a16="http://schemas.microsoft.com/office/drawing/2014/main" id="{BBE9BDEC-53DB-7C23-2829-D45FFF5771A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0095537" y="5824728"/>
            <a:ext cx="754019" cy="145961"/>
          </a:xfrm>
          <a:ln w="19050">
            <a:noFill/>
          </a:ln>
        </p:spPr>
        <p:txBody>
          <a:bodyPr lIns="0" tIns="0" rIns="0" bIns="0"/>
          <a:lstStyle>
            <a:lvl1pPr>
              <a:defRPr sz="900">
                <a:latin typeface="HPE Graphik Light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latin typeface="+mn-lt"/>
              </a:defRPr>
            </a:lvl2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65" name="Text Placeholder 5">
            <a:extLst>
              <a:ext uri="{FF2B5EF4-FFF2-40B4-BE49-F238E27FC236}">
                <a16:creationId xmlns:a16="http://schemas.microsoft.com/office/drawing/2014/main" id="{D654FE86-88F9-4577-9DAE-8166F19CA320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1046398" y="5824728"/>
            <a:ext cx="754019" cy="145961"/>
          </a:xfrm>
          <a:ln w="19050">
            <a:noFill/>
          </a:ln>
        </p:spPr>
        <p:txBody>
          <a:bodyPr lIns="0" tIns="0" rIns="0" bIns="0"/>
          <a:lstStyle>
            <a:lvl1pPr>
              <a:defRPr sz="900">
                <a:latin typeface="HPE Graphik Light" pitchFamily="50" charset="0"/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latin typeface="+mn-lt"/>
              </a:defRPr>
            </a:lvl2pPr>
          </a:lstStyle>
          <a:p>
            <a:pPr lvl="0"/>
            <a:r>
              <a:rPr lang="en-US"/>
              <a:t>Text here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AF45EBCE-E860-A633-1DAD-C30B38FE3A85}"/>
              </a:ext>
            </a:extLst>
          </p:cNvPr>
          <p:cNvGrpSpPr>
            <a:grpSpLocks/>
          </p:cNvGrpSpPr>
          <p:nvPr/>
        </p:nvGrpSpPr>
        <p:grpSpPr>
          <a:xfrm>
            <a:off x="374650" y="3175000"/>
            <a:ext cx="11411712" cy="2514600"/>
            <a:chOff x="374650" y="3175000"/>
            <a:chExt cx="11411712" cy="2514600"/>
          </a:xfrm>
        </p:grpSpPr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D61194E9-6CDA-9C7D-4695-9496926122DE}"/>
                </a:ext>
              </a:extLst>
            </p:cNvPr>
            <p:cNvCxnSpPr>
              <a:cxnSpLocks/>
            </p:cNvCxnSpPr>
            <p:nvPr/>
          </p:nvCxnSpPr>
          <p:spPr>
            <a:xfrm>
              <a:off x="374650" y="3175000"/>
              <a:ext cx="11411712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AAFEFDDA-4F3B-F4F5-77B5-28542A65B9DF}"/>
                </a:ext>
              </a:extLst>
            </p:cNvPr>
            <p:cNvCxnSpPr>
              <a:cxnSpLocks/>
            </p:cNvCxnSpPr>
            <p:nvPr/>
          </p:nvCxnSpPr>
          <p:spPr>
            <a:xfrm>
              <a:off x="374650" y="4008120"/>
              <a:ext cx="11411712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1D30E2C9-6BA5-06D1-BCA3-EA51E0D5D2AC}"/>
                </a:ext>
              </a:extLst>
            </p:cNvPr>
            <p:cNvCxnSpPr>
              <a:cxnSpLocks/>
            </p:cNvCxnSpPr>
            <p:nvPr/>
          </p:nvCxnSpPr>
          <p:spPr>
            <a:xfrm>
              <a:off x="374650" y="4851400"/>
              <a:ext cx="11411712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806C4FD0-F735-CF38-B794-D97A64183531}"/>
                </a:ext>
              </a:extLst>
            </p:cNvPr>
            <p:cNvCxnSpPr>
              <a:cxnSpLocks/>
            </p:cNvCxnSpPr>
            <p:nvPr/>
          </p:nvCxnSpPr>
          <p:spPr>
            <a:xfrm>
              <a:off x="374650" y="5689600"/>
              <a:ext cx="11411712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" name="Graphic 3">
            <a:extLst>
              <a:ext uri="{FF2B5EF4-FFF2-40B4-BE49-F238E27FC236}">
                <a16:creationId xmlns:a16="http://schemas.microsoft.com/office/drawing/2014/main" id="{224A201F-2742-25DE-BB6A-8F2C041990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5AFB998-8502-519B-4C3E-52DBD4435C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C5238DB-1C09-0712-3BEC-7EEE6EF8F8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 46">
            <a:extLst>
              <a:ext uri="{FF2B5EF4-FFF2-40B4-BE49-F238E27FC236}">
                <a16:creationId xmlns:a16="http://schemas.microsoft.com/office/drawing/2014/main" id="{A4D56755-79C2-7B65-60E2-4682C1C3EAD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340648" y="2423264"/>
            <a:ext cx="4591685" cy="639126"/>
          </a:xfrm>
        </p:spPr>
        <p:txBody>
          <a:bodyPr tIns="0" rIns="0" bIns="0"/>
          <a:lstStyle>
            <a:lvl1pPr>
              <a:defRPr lang="en-US" sz="1400" kern="1200" dirty="0">
                <a:solidFill>
                  <a:schemeClr val="bg1"/>
                </a:solidFill>
                <a:latin typeface="HPE Graphik Light" pitchFamily="50" charset="0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/>
              <a:t>Details here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/>
              <a:t>Details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Details here</a:t>
            </a:r>
          </a:p>
        </p:txBody>
      </p:sp>
    </p:spTree>
    <p:extLst>
      <p:ext uri="{BB962C8B-B14F-4D97-AF65-F5344CB8AC3E}">
        <p14:creationId xmlns:p14="http://schemas.microsoft.com/office/powerpoint/2010/main" val="643533414"/>
      </p:ext>
    </p:extLst>
  </p:cSld>
  <p:clrMapOvr>
    <a:masterClrMapping/>
  </p:clrMapOvr>
  <p:hf hdr="0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00609AB6-19A1-E281-B8CB-73DB47948144}"/>
              </a:ext>
            </a:extLst>
          </p:cNvPr>
          <p:cNvGrpSpPr>
            <a:grpSpLocks/>
          </p:cNvGrpSpPr>
          <p:nvPr/>
        </p:nvGrpSpPr>
        <p:grpSpPr>
          <a:xfrm>
            <a:off x="374650" y="3165374"/>
            <a:ext cx="11411712" cy="2455331"/>
            <a:chOff x="374650" y="3175000"/>
            <a:chExt cx="11411712" cy="2455331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B4110403-2EFD-96AD-C355-02D56FEA8812}"/>
                </a:ext>
              </a:extLst>
            </p:cNvPr>
            <p:cNvCxnSpPr>
              <a:cxnSpLocks/>
            </p:cNvCxnSpPr>
            <p:nvPr/>
          </p:nvCxnSpPr>
          <p:spPr>
            <a:xfrm>
              <a:off x="374650" y="3175000"/>
              <a:ext cx="11411712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A74B400-4435-FFFC-022D-8E1271ACD262}"/>
                </a:ext>
              </a:extLst>
            </p:cNvPr>
            <p:cNvCxnSpPr>
              <a:cxnSpLocks/>
            </p:cNvCxnSpPr>
            <p:nvPr/>
          </p:nvCxnSpPr>
          <p:spPr>
            <a:xfrm>
              <a:off x="374650" y="4792131"/>
              <a:ext cx="11411712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FD7483B-FC20-AF09-B78B-350DE5A6E6B1}"/>
                </a:ext>
              </a:extLst>
            </p:cNvPr>
            <p:cNvCxnSpPr>
              <a:cxnSpLocks/>
            </p:cNvCxnSpPr>
            <p:nvPr/>
          </p:nvCxnSpPr>
          <p:spPr>
            <a:xfrm>
              <a:off x="374650" y="5630331"/>
              <a:ext cx="11411712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DEBF9805-505D-6008-21E7-A9DB03203AD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4649" y="1927416"/>
            <a:ext cx="11434763" cy="414867"/>
          </a:xfrm>
          <a:solidFill>
            <a:schemeClr val="accent1"/>
          </a:solidFill>
        </p:spPr>
        <p:txBody>
          <a:bodyPr lIns="1920240" tIns="91440" rIns="182880" bIns="91440" anchor="ctr" anchorCtr="0">
            <a:noAutofit/>
          </a:bodyPr>
          <a:lstStyle>
            <a:lvl1pPr>
              <a:defRPr sz="1600">
                <a:solidFill>
                  <a:schemeClr val="tx1"/>
                </a:solidFill>
                <a:latin typeface="HPE Graphik Light" pitchFamily="50" charset="0"/>
              </a:defRPr>
            </a:lvl1pPr>
            <a:lvl2pPr>
              <a:defRPr sz="1600">
                <a:solidFill>
                  <a:schemeClr val="bg1"/>
                </a:solidFill>
                <a:latin typeface="+mj-lt"/>
              </a:defRPr>
            </a:lvl2pPr>
            <a:lvl3pPr>
              <a:defRPr sz="1600">
                <a:solidFill>
                  <a:schemeClr val="bg1"/>
                </a:solidFill>
                <a:latin typeface="+mj-lt"/>
              </a:defRPr>
            </a:lvl3pPr>
            <a:lvl4pPr>
              <a:defRPr sz="1600">
                <a:solidFill>
                  <a:schemeClr val="bg1"/>
                </a:solidFill>
                <a:latin typeface="+mj-lt"/>
              </a:defRPr>
            </a:lvl4pPr>
            <a:lvl5pPr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urrent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18396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9518396" cy="7772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meline roadmap — dark mode;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287204F-6B78-81D7-0171-E5FA41FFFF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98620" y="1978746"/>
            <a:ext cx="659130" cy="327263"/>
          </a:xfrm>
          <a:solidFill>
            <a:schemeClr val="accent1"/>
          </a:solidFill>
        </p:spPr>
        <p:txBody>
          <a:bodyPr anchor="ctr" anchorCtr="0"/>
          <a:lstStyle>
            <a:lvl1pPr>
              <a:defRPr lang="en-US" sz="1600" kern="1200" dirty="0">
                <a:solidFill>
                  <a:schemeClr val="tx1"/>
                </a:solidFill>
                <a:latin typeface="HPE Graphik Light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Q1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AB30B52-1C64-60FB-99BB-84F81242A82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20130" y="1978746"/>
            <a:ext cx="659130" cy="327263"/>
          </a:xfrm>
          <a:solidFill>
            <a:schemeClr val="accent1"/>
          </a:solidFill>
        </p:spPr>
        <p:txBody>
          <a:bodyPr anchor="ctr" anchorCtr="0"/>
          <a:lstStyle>
            <a:lvl1pPr>
              <a:defRPr lang="en-US" sz="1600" kern="1200" dirty="0">
                <a:solidFill>
                  <a:schemeClr val="tx1"/>
                </a:solidFill>
                <a:latin typeface="HPE Graphik Light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Q2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05C734A6-0DA6-7E06-8EE8-BC6D953731E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40369" y="1978746"/>
            <a:ext cx="659129" cy="327263"/>
          </a:xfrm>
          <a:solidFill>
            <a:schemeClr val="accent1"/>
          </a:solidFill>
        </p:spPr>
        <p:txBody>
          <a:bodyPr anchor="ctr" anchorCtr="0"/>
          <a:lstStyle>
            <a:lvl1pPr>
              <a:defRPr lang="en-US" sz="1600" kern="1200" dirty="0">
                <a:solidFill>
                  <a:schemeClr val="tx1"/>
                </a:solidFill>
                <a:latin typeface="HPE Graphik Light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Q3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8155F34-B523-0B7D-E5BD-9C942BDDA3E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955530" y="1978746"/>
            <a:ext cx="722802" cy="327263"/>
          </a:xfrm>
          <a:solidFill>
            <a:schemeClr val="accent1"/>
          </a:solidFill>
        </p:spPr>
        <p:txBody>
          <a:bodyPr anchor="ctr" anchorCtr="0"/>
          <a:lstStyle>
            <a:lvl1pPr>
              <a:defRPr lang="en-US" sz="1600" kern="1200" dirty="0">
                <a:solidFill>
                  <a:schemeClr val="tx1"/>
                </a:solidFill>
                <a:latin typeface="HPE Graphik Light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Q4</a:t>
            </a:r>
          </a:p>
        </p:txBody>
      </p:sp>
      <p:sp>
        <p:nvSpPr>
          <p:cNvPr id="20" name="Text Placeholder 46">
            <a:extLst>
              <a:ext uri="{FF2B5EF4-FFF2-40B4-BE49-F238E27FC236}">
                <a16:creationId xmlns:a16="http://schemas.microsoft.com/office/drawing/2014/main" id="{6C1A191A-96F8-4464-C8B0-34112C8E666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4514" y="2421374"/>
            <a:ext cx="1027219" cy="639126"/>
          </a:xfrm>
        </p:spPr>
        <p:txBody>
          <a:bodyPr tIns="0" rIns="0" bIns="0"/>
          <a:lstStyle>
            <a:lvl1pPr>
              <a:defRPr sz="1400"/>
            </a:lvl1pPr>
          </a:lstStyle>
          <a:p>
            <a:pPr lvl="0"/>
            <a:r>
              <a:rPr lang="en-US"/>
              <a:t>Product or phase</a:t>
            </a:r>
          </a:p>
        </p:txBody>
      </p:sp>
      <p:sp>
        <p:nvSpPr>
          <p:cNvPr id="21" name="Text Placeholder 46">
            <a:extLst>
              <a:ext uri="{FF2B5EF4-FFF2-40B4-BE49-F238E27FC236}">
                <a16:creationId xmlns:a16="http://schemas.microsoft.com/office/drawing/2014/main" id="{CF1A7F74-21FB-5775-A22D-39CD7E2FFB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4514" y="3265924"/>
            <a:ext cx="1027219" cy="639126"/>
          </a:xfrm>
        </p:spPr>
        <p:txBody>
          <a:bodyPr tIns="0" rIns="0" bIns="0"/>
          <a:lstStyle>
            <a:lvl1pPr>
              <a:defRPr sz="1400"/>
            </a:lvl1pPr>
          </a:lstStyle>
          <a:p>
            <a:pPr lvl="0"/>
            <a:r>
              <a:rPr lang="en-US"/>
              <a:t>Product or phase</a:t>
            </a:r>
          </a:p>
        </p:txBody>
      </p:sp>
      <p:sp>
        <p:nvSpPr>
          <p:cNvPr id="22" name="Text Placeholder 46">
            <a:extLst>
              <a:ext uri="{FF2B5EF4-FFF2-40B4-BE49-F238E27FC236}">
                <a16:creationId xmlns:a16="http://schemas.microsoft.com/office/drawing/2014/main" id="{6CC56048-B9AA-8EBF-F60E-1E36E823BC6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64514" y="4889407"/>
            <a:ext cx="1027219" cy="639126"/>
          </a:xfrm>
        </p:spPr>
        <p:txBody>
          <a:bodyPr tIns="0" rIns="0" bIns="0"/>
          <a:lstStyle>
            <a:lvl1pPr>
              <a:defRPr sz="1400"/>
            </a:lvl1pPr>
          </a:lstStyle>
          <a:p>
            <a:pPr lvl="0"/>
            <a:r>
              <a:rPr lang="en-US"/>
              <a:t>Product or phas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644A84FE-1FA8-2DAE-2470-8188DC40516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92350" y="2380091"/>
            <a:ext cx="9517063" cy="155448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F610D2AB-BDC4-591D-9996-D15B78473F9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03133" y="2574825"/>
            <a:ext cx="7906280" cy="155448"/>
          </a:xfr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87938950-8AA3-6792-6858-94A627D385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70033" y="2771252"/>
            <a:ext cx="6039380" cy="155448"/>
          </a:xfr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94B20A9E-CFF0-5A51-8F26-9A1ABB0EDB4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556499" y="2964291"/>
            <a:ext cx="4252913" cy="155448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45111553-6E8A-B578-FD16-DAF921354A5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292350" y="3218292"/>
            <a:ext cx="9517063" cy="158749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92BBB32A-FF33-8B3F-057F-770FFBF642E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92350" y="3417258"/>
            <a:ext cx="9517063" cy="150284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C759F59C-7E9C-C0E5-FC49-B69AF5E806A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92350" y="3802492"/>
            <a:ext cx="9517063" cy="158749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1" name="Text Placeholder 23">
            <a:extLst>
              <a:ext uri="{FF2B5EF4-FFF2-40B4-BE49-F238E27FC236}">
                <a16:creationId xmlns:a16="http://schemas.microsoft.com/office/drawing/2014/main" id="{EF4C3D21-03AB-6C8E-EC99-3CB2EB7A525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292350" y="3998283"/>
            <a:ext cx="9517063" cy="150284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2" name="Text Placeholder 23">
            <a:extLst>
              <a:ext uri="{FF2B5EF4-FFF2-40B4-BE49-F238E27FC236}">
                <a16:creationId xmlns:a16="http://schemas.microsoft.com/office/drawing/2014/main" id="{E1B1F49B-5B3D-0450-CB45-7DDBA1D260C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857750" y="3610933"/>
            <a:ext cx="6951663" cy="150284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3" name="Text Placeholder 23">
            <a:extLst>
              <a:ext uri="{FF2B5EF4-FFF2-40B4-BE49-F238E27FC236}">
                <a16:creationId xmlns:a16="http://schemas.microsoft.com/office/drawing/2014/main" id="{F6D80FE5-F739-D3B6-129B-E58042BC60C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134225" y="4189418"/>
            <a:ext cx="4675188" cy="155448"/>
          </a:xfr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4" name="Text Placeholder 23">
            <a:extLst>
              <a:ext uri="{FF2B5EF4-FFF2-40B4-BE49-F238E27FC236}">
                <a16:creationId xmlns:a16="http://schemas.microsoft.com/office/drawing/2014/main" id="{0E8268DA-D3C1-F759-F459-558086F34E4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334375" y="4382458"/>
            <a:ext cx="3475038" cy="150284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5" name="Text Placeholder 23">
            <a:extLst>
              <a:ext uri="{FF2B5EF4-FFF2-40B4-BE49-F238E27FC236}">
                <a16:creationId xmlns:a16="http://schemas.microsoft.com/office/drawing/2014/main" id="{010F9562-FAAB-F9F5-B4B0-D6CCCC221D4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620251" y="4580578"/>
            <a:ext cx="2189162" cy="150284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6" name="Text Placeholder 23">
            <a:extLst>
              <a:ext uri="{FF2B5EF4-FFF2-40B4-BE49-F238E27FC236}">
                <a16:creationId xmlns:a16="http://schemas.microsoft.com/office/drawing/2014/main" id="{A229142C-16BE-83EC-9D26-29D8AADF8B5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292350" y="4833308"/>
            <a:ext cx="9517063" cy="150284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7" name="Text Placeholder 23">
            <a:extLst>
              <a:ext uri="{FF2B5EF4-FFF2-40B4-BE49-F238E27FC236}">
                <a16:creationId xmlns:a16="http://schemas.microsoft.com/office/drawing/2014/main" id="{13C029D0-8C37-CA27-23B2-42567F2D0EC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692900" y="5021268"/>
            <a:ext cx="5116513" cy="155448"/>
          </a:xfr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8" name="Text Placeholder 23">
            <a:extLst>
              <a:ext uri="{FF2B5EF4-FFF2-40B4-BE49-F238E27FC236}">
                <a16:creationId xmlns:a16="http://schemas.microsoft.com/office/drawing/2014/main" id="{1BBD7F9E-4CA1-FB4B-AA91-73ECB13F023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556126" y="5217483"/>
            <a:ext cx="7253288" cy="150284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sp>
        <p:nvSpPr>
          <p:cNvPr id="39" name="Text Placeholder 23">
            <a:extLst>
              <a:ext uri="{FF2B5EF4-FFF2-40B4-BE49-F238E27FC236}">
                <a16:creationId xmlns:a16="http://schemas.microsoft.com/office/drawing/2014/main" id="{47F7F192-22B0-3C34-201F-A2B3F31F790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166225" y="5412428"/>
            <a:ext cx="2643188" cy="150284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lIns="91440" tIns="91440" bIns="91440"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sk or project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7596248-524F-D22A-1B7F-1E92F838A7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98DBD3A-32CC-A1DD-EA42-17FDB6CE2C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6C88A6E-A36B-90B6-E34C-BC09B06ABD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994695"/>
      </p:ext>
    </p:extLst>
  </p:cSld>
  <p:clrMapOvr>
    <a:masterClrMapping/>
  </p:clrMapOvr>
  <p:hf hdr="0"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low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8C371E16-2472-B5E9-DB30-708853B5228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40756" y="1919905"/>
            <a:ext cx="1654175" cy="557784"/>
          </a:xfrm>
          <a:ln w="28575">
            <a:noFill/>
          </a:ln>
        </p:spPr>
        <p:txBody>
          <a:bodyPr tIns="73152"/>
          <a:lstStyle>
            <a:lvl1pPr marL="0" algn="l" defTabSz="914400" rtl="0" eaLnBrk="1" latinLnBrk="0" hangingPunct="1">
              <a:defRPr lang="en-US" sz="1600" kern="1200" dirty="0">
                <a:solidFill>
                  <a:schemeClr val="bg1"/>
                </a:solidFill>
                <a:latin typeface="HPE Graphik Semibold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tep four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D41F6FE3-B3C0-E897-7B53-CA38A1AC725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23081" y="1921094"/>
            <a:ext cx="1654175" cy="557784"/>
          </a:xfrm>
          <a:ln w="28575">
            <a:noFill/>
          </a:ln>
        </p:spPr>
        <p:txBody>
          <a:bodyPr tIns="73152"/>
          <a:lstStyle>
            <a:lvl1pPr marL="0" algn="l" defTabSz="914400" rtl="0" eaLnBrk="1" latinLnBrk="0" hangingPunct="1">
              <a:defRPr lang="en-US" sz="1600" kern="1200" dirty="0">
                <a:solidFill>
                  <a:schemeClr val="bg1"/>
                </a:solidFill>
                <a:latin typeface="HPE Graphik Semibold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tep three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ECF7079E-640C-FADE-16CC-78787418F6F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95246" y="1921094"/>
            <a:ext cx="1654175" cy="557784"/>
          </a:xfrm>
          <a:ln w="28575">
            <a:noFill/>
          </a:ln>
        </p:spPr>
        <p:txBody>
          <a:bodyPr tIns="73152"/>
          <a:lstStyle>
            <a:lvl1pPr marL="0" algn="l" defTabSz="914400" rtl="0" eaLnBrk="1" latinLnBrk="0" hangingPunct="1">
              <a:defRPr lang="en-US" sz="1600" kern="1200" dirty="0">
                <a:solidFill>
                  <a:schemeClr val="bg1"/>
                </a:solidFill>
                <a:latin typeface="HPE Graphik Semibold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tep two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06A64A2-568E-E698-3D43-394973EA66F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4048" y="1921094"/>
            <a:ext cx="1654175" cy="557784"/>
          </a:xfrm>
          <a:ln w="28575">
            <a:noFill/>
          </a:ln>
        </p:spPr>
        <p:txBody>
          <a:bodyPr tIns="73152"/>
          <a:lstStyle>
            <a:lvl1pPr marL="0" algn="l" defTabSz="914400" rtl="0" eaLnBrk="1" latinLnBrk="0" hangingPunct="1">
              <a:defRPr lang="en-US" sz="1600" kern="1200" dirty="0">
                <a:solidFill>
                  <a:schemeClr val="bg1"/>
                </a:solidFill>
                <a:latin typeface="HPE Graphik Semibold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tep one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CE0F9662-801E-C923-6D7C-67D774ED368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52335" y="1919905"/>
            <a:ext cx="1654175" cy="557784"/>
          </a:xfrm>
          <a:ln w="28575">
            <a:noFill/>
          </a:ln>
        </p:spPr>
        <p:txBody>
          <a:bodyPr tIns="73152"/>
          <a:lstStyle>
            <a:lvl1pPr marL="0" algn="l" defTabSz="914400" rtl="0" eaLnBrk="1" latinLnBrk="0" hangingPunct="1">
              <a:defRPr lang="en-US" sz="1600" kern="1200" dirty="0">
                <a:solidFill>
                  <a:schemeClr val="bg1"/>
                </a:solidFill>
                <a:latin typeface="HPE Graphik Semibold" pitchFamily="50" charset="0"/>
                <a:ea typeface="+mn-ea"/>
                <a:cs typeface="+mn-cs"/>
              </a:defRPr>
            </a:lvl1pPr>
          </a:lstStyle>
          <a:p>
            <a:pPr algn="l"/>
            <a:r>
              <a:rPr lang="en-US" sz="1600">
                <a:solidFill>
                  <a:schemeClr val="bg1"/>
                </a:solidFill>
                <a:latin typeface="+mj-lt"/>
              </a:rPr>
              <a:t>Step five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A45A8C19-ED22-EB28-3105-6F6C75116C9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980296" y="1919905"/>
            <a:ext cx="1654175" cy="557784"/>
          </a:xfrm>
          <a:ln w="28575">
            <a:noFill/>
          </a:ln>
        </p:spPr>
        <p:txBody>
          <a:bodyPr tIns="73152"/>
          <a:lstStyle>
            <a:lvl1pPr marL="0" algn="l" defTabSz="914400" rtl="0" eaLnBrk="1" latinLnBrk="0" hangingPunct="1">
              <a:defRPr lang="en-US" sz="1600" kern="1200" dirty="0">
                <a:solidFill>
                  <a:schemeClr val="bg1"/>
                </a:solidFill>
                <a:latin typeface="HPE Graphik Semibold" pitchFamily="50" charset="0"/>
                <a:ea typeface="+mn-ea"/>
                <a:cs typeface="+mn-cs"/>
              </a:defRPr>
            </a:lvl1pPr>
          </a:lstStyle>
          <a:p>
            <a:pPr algn="l"/>
            <a:r>
              <a:rPr lang="en-US" sz="1600">
                <a:solidFill>
                  <a:schemeClr val="bg1"/>
                </a:solidFill>
                <a:latin typeface="+mj-lt"/>
              </a:rPr>
              <a:t>Step six</a:t>
            </a:r>
          </a:p>
        </p:txBody>
      </p:sp>
      <p:sp>
        <p:nvSpPr>
          <p:cNvPr id="10" name="Rectangle 8">
            <a:extLst>
              <a:ext uri="{FF2B5EF4-FFF2-40B4-BE49-F238E27FC236}">
                <a16:creationId xmlns:a16="http://schemas.microsoft.com/office/drawing/2014/main" id="{7FB7D896-71E4-2FEE-5F61-33B46336E62A}"/>
              </a:ext>
            </a:extLst>
          </p:cNvPr>
          <p:cNvSpPr/>
          <p:nvPr/>
        </p:nvSpPr>
        <p:spPr>
          <a:xfrm>
            <a:off x="6139867" y="1919905"/>
            <a:ext cx="1655064" cy="557784"/>
          </a:xfrm>
          <a:custGeom>
            <a:avLst/>
            <a:gdLst>
              <a:gd name="connsiteX0" fmla="*/ 0 w 1837764"/>
              <a:gd name="connsiteY0" fmla="*/ 0 h 611717"/>
              <a:gd name="connsiteX1" fmla="*/ 1837764 w 1837764"/>
              <a:gd name="connsiteY1" fmla="*/ 0 h 611717"/>
              <a:gd name="connsiteX2" fmla="*/ 1837764 w 1837764"/>
              <a:gd name="connsiteY2" fmla="*/ 611717 h 611717"/>
              <a:gd name="connsiteX3" fmla="*/ 0 w 1837764"/>
              <a:gd name="connsiteY3" fmla="*/ 611717 h 611717"/>
              <a:gd name="connsiteX4" fmla="*/ 0 w 1837764"/>
              <a:gd name="connsiteY4" fmla="*/ 0 h 611717"/>
              <a:gd name="connsiteX0" fmla="*/ 0 w 1837764"/>
              <a:gd name="connsiteY0" fmla="*/ 611717 h 703157"/>
              <a:gd name="connsiteX1" fmla="*/ 0 w 1837764"/>
              <a:gd name="connsiteY1" fmla="*/ 0 h 703157"/>
              <a:gd name="connsiteX2" fmla="*/ 1837764 w 1837764"/>
              <a:gd name="connsiteY2" fmla="*/ 0 h 703157"/>
              <a:gd name="connsiteX3" fmla="*/ 1837764 w 1837764"/>
              <a:gd name="connsiteY3" fmla="*/ 611717 h 703157"/>
              <a:gd name="connsiteX4" fmla="*/ 91440 w 1837764"/>
              <a:gd name="connsiteY4" fmla="*/ 703157 h 703157"/>
              <a:gd name="connsiteX0" fmla="*/ 0 w 1837764"/>
              <a:gd name="connsiteY0" fmla="*/ 611717 h 611717"/>
              <a:gd name="connsiteX1" fmla="*/ 0 w 1837764"/>
              <a:gd name="connsiteY1" fmla="*/ 0 h 611717"/>
              <a:gd name="connsiteX2" fmla="*/ 1837764 w 1837764"/>
              <a:gd name="connsiteY2" fmla="*/ 0 h 611717"/>
              <a:gd name="connsiteX3" fmla="*/ 1837764 w 1837764"/>
              <a:gd name="connsiteY3" fmla="*/ 611717 h 611717"/>
              <a:gd name="connsiteX0" fmla="*/ 0 w 1837764"/>
              <a:gd name="connsiteY0" fmla="*/ 0 h 611717"/>
              <a:gd name="connsiteX1" fmla="*/ 1837764 w 1837764"/>
              <a:gd name="connsiteY1" fmla="*/ 0 h 611717"/>
              <a:gd name="connsiteX2" fmla="*/ 1837764 w 1837764"/>
              <a:gd name="connsiteY2" fmla="*/ 611717 h 611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37764" h="611717">
                <a:moveTo>
                  <a:pt x="0" y="0"/>
                </a:moveTo>
                <a:lnTo>
                  <a:pt x="1837764" y="0"/>
                </a:lnTo>
                <a:lnTo>
                  <a:pt x="1837764" y="611717"/>
                </a:lnTo>
              </a:path>
            </a:pathLst>
          </a:cu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3152" rtlCol="0" anchor="t"/>
          <a:lstStyle/>
          <a:p>
            <a:pPr algn="l"/>
            <a:endParaRPr lang="en-US" sz="1600">
              <a:solidFill>
                <a:schemeClr val="bg1"/>
              </a:solidFill>
              <a:latin typeface="HPE Graphik Semibold" pitchFamily="50" charset="0"/>
            </a:endParaRPr>
          </a:p>
        </p:txBody>
      </p:sp>
      <p:sp>
        <p:nvSpPr>
          <p:cNvPr id="9" name="Rectangle 7">
            <a:extLst>
              <a:ext uri="{FF2B5EF4-FFF2-40B4-BE49-F238E27FC236}">
                <a16:creationId xmlns:a16="http://schemas.microsoft.com/office/drawing/2014/main" id="{C912DB6F-57B3-361B-1E3E-D1CB0E9C7E48}"/>
              </a:ext>
            </a:extLst>
          </p:cNvPr>
          <p:cNvSpPr/>
          <p:nvPr/>
        </p:nvSpPr>
        <p:spPr>
          <a:xfrm>
            <a:off x="4222192" y="1919905"/>
            <a:ext cx="1655064" cy="557784"/>
          </a:xfrm>
          <a:custGeom>
            <a:avLst/>
            <a:gdLst>
              <a:gd name="connsiteX0" fmla="*/ 0 w 1837764"/>
              <a:gd name="connsiteY0" fmla="*/ 0 h 611717"/>
              <a:gd name="connsiteX1" fmla="*/ 1837764 w 1837764"/>
              <a:gd name="connsiteY1" fmla="*/ 0 h 611717"/>
              <a:gd name="connsiteX2" fmla="*/ 1837764 w 1837764"/>
              <a:gd name="connsiteY2" fmla="*/ 611717 h 611717"/>
              <a:gd name="connsiteX3" fmla="*/ 0 w 1837764"/>
              <a:gd name="connsiteY3" fmla="*/ 611717 h 611717"/>
              <a:gd name="connsiteX4" fmla="*/ 0 w 1837764"/>
              <a:gd name="connsiteY4" fmla="*/ 0 h 611717"/>
              <a:gd name="connsiteX0" fmla="*/ 0 w 1837764"/>
              <a:gd name="connsiteY0" fmla="*/ 611717 h 703157"/>
              <a:gd name="connsiteX1" fmla="*/ 0 w 1837764"/>
              <a:gd name="connsiteY1" fmla="*/ 0 h 703157"/>
              <a:gd name="connsiteX2" fmla="*/ 1837764 w 1837764"/>
              <a:gd name="connsiteY2" fmla="*/ 0 h 703157"/>
              <a:gd name="connsiteX3" fmla="*/ 1837764 w 1837764"/>
              <a:gd name="connsiteY3" fmla="*/ 611717 h 703157"/>
              <a:gd name="connsiteX4" fmla="*/ 91440 w 1837764"/>
              <a:gd name="connsiteY4" fmla="*/ 703157 h 703157"/>
              <a:gd name="connsiteX0" fmla="*/ 0 w 1837764"/>
              <a:gd name="connsiteY0" fmla="*/ 611717 h 611717"/>
              <a:gd name="connsiteX1" fmla="*/ 0 w 1837764"/>
              <a:gd name="connsiteY1" fmla="*/ 0 h 611717"/>
              <a:gd name="connsiteX2" fmla="*/ 1837764 w 1837764"/>
              <a:gd name="connsiteY2" fmla="*/ 0 h 611717"/>
              <a:gd name="connsiteX3" fmla="*/ 1837764 w 1837764"/>
              <a:gd name="connsiteY3" fmla="*/ 611717 h 611717"/>
              <a:gd name="connsiteX0" fmla="*/ 0 w 1837764"/>
              <a:gd name="connsiteY0" fmla="*/ 0 h 611717"/>
              <a:gd name="connsiteX1" fmla="*/ 1837764 w 1837764"/>
              <a:gd name="connsiteY1" fmla="*/ 0 h 611717"/>
              <a:gd name="connsiteX2" fmla="*/ 1837764 w 1837764"/>
              <a:gd name="connsiteY2" fmla="*/ 611717 h 611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37764" h="611717">
                <a:moveTo>
                  <a:pt x="0" y="0"/>
                </a:moveTo>
                <a:lnTo>
                  <a:pt x="1837764" y="0"/>
                </a:lnTo>
                <a:lnTo>
                  <a:pt x="1837764" y="611717"/>
                </a:lnTo>
              </a:path>
            </a:pathLst>
          </a:cu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3152" rtlCol="0" anchor="t"/>
          <a:lstStyle/>
          <a:p>
            <a:pPr algn="l"/>
            <a:endParaRPr lang="en-US" sz="1600">
              <a:solidFill>
                <a:schemeClr val="bg1"/>
              </a:solidFill>
              <a:latin typeface="HPE Graphik Semibold" pitchFamily="50" charset="0"/>
            </a:endParaRP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80660498-77D8-499D-32B1-D72A2C01290C}"/>
              </a:ext>
            </a:extLst>
          </p:cNvPr>
          <p:cNvSpPr/>
          <p:nvPr/>
        </p:nvSpPr>
        <p:spPr>
          <a:xfrm>
            <a:off x="2294357" y="1919905"/>
            <a:ext cx="1655064" cy="557784"/>
          </a:xfrm>
          <a:custGeom>
            <a:avLst/>
            <a:gdLst>
              <a:gd name="connsiteX0" fmla="*/ 0 w 1837764"/>
              <a:gd name="connsiteY0" fmla="*/ 0 h 807944"/>
              <a:gd name="connsiteX1" fmla="*/ 1837764 w 1837764"/>
              <a:gd name="connsiteY1" fmla="*/ 0 h 807944"/>
              <a:gd name="connsiteX2" fmla="*/ 1837764 w 1837764"/>
              <a:gd name="connsiteY2" fmla="*/ 807944 h 807944"/>
              <a:gd name="connsiteX3" fmla="*/ 0 w 1837764"/>
              <a:gd name="connsiteY3" fmla="*/ 807944 h 807944"/>
              <a:gd name="connsiteX4" fmla="*/ 0 w 1837764"/>
              <a:gd name="connsiteY4" fmla="*/ 0 h 807944"/>
              <a:gd name="connsiteX0" fmla="*/ 0 w 1837764"/>
              <a:gd name="connsiteY0" fmla="*/ 807944 h 899384"/>
              <a:gd name="connsiteX1" fmla="*/ 0 w 1837764"/>
              <a:gd name="connsiteY1" fmla="*/ 0 h 899384"/>
              <a:gd name="connsiteX2" fmla="*/ 1837764 w 1837764"/>
              <a:gd name="connsiteY2" fmla="*/ 0 h 899384"/>
              <a:gd name="connsiteX3" fmla="*/ 1837764 w 1837764"/>
              <a:gd name="connsiteY3" fmla="*/ 807944 h 899384"/>
              <a:gd name="connsiteX4" fmla="*/ 91440 w 1837764"/>
              <a:gd name="connsiteY4" fmla="*/ 899384 h 899384"/>
              <a:gd name="connsiteX0" fmla="*/ 0 w 1837764"/>
              <a:gd name="connsiteY0" fmla="*/ 807944 h 807944"/>
              <a:gd name="connsiteX1" fmla="*/ 0 w 1837764"/>
              <a:gd name="connsiteY1" fmla="*/ 0 h 807944"/>
              <a:gd name="connsiteX2" fmla="*/ 1837764 w 1837764"/>
              <a:gd name="connsiteY2" fmla="*/ 0 h 807944"/>
              <a:gd name="connsiteX3" fmla="*/ 1837764 w 1837764"/>
              <a:gd name="connsiteY3" fmla="*/ 807944 h 807944"/>
              <a:gd name="connsiteX0" fmla="*/ 0 w 1837764"/>
              <a:gd name="connsiteY0" fmla="*/ 0 h 807944"/>
              <a:gd name="connsiteX1" fmla="*/ 1837764 w 1837764"/>
              <a:gd name="connsiteY1" fmla="*/ 0 h 807944"/>
              <a:gd name="connsiteX2" fmla="*/ 1837764 w 1837764"/>
              <a:gd name="connsiteY2" fmla="*/ 807944 h 807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37764" h="807944">
                <a:moveTo>
                  <a:pt x="0" y="0"/>
                </a:moveTo>
                <a:lnTo>
                  <a:pt x="1837764" y="0"/>
                </a:lnTo>
                <a:lnTo>
                  <a:pt x="1837764" y="807944"/>
                </a:lnTo>
              </a:path>
            </a:pathLst>
          </a:cu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3152" rtlCol="0" anchor="t"/>
          <a:lstStyle/>
          <a:p>
            <a:pPr algn="l"/>
            <a:endParaRPr lang="en-US" sz="1600">
              <a:solidFill>
                <a:schemeClr val="bg1"/>
              </a:solidFill>
              <a:latin typeface="HPE Graphik Semibold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FE7836-3504-1473-E75D-C9EA3314A5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Flow chart — dark mode;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7824E4DA-97AF-DF27-7906-8D97239C77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9509252" cy="369486"/>
          </a:xfrm>
        </p:spPr>
        <p:txBody>
          <a:bodyPr tIns="0"/>
          <a:lstStyle>
            <a:lvl1pPr>
              <a:defRPr sz="2000"/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FBA9839A-1FF5-C887-E418-669D133FDD9C}"/>
              </a:ext>
            </a:extLst>
          </p:cNvPr>
          <p:cNvSpPr/>
          <p:nvPr/>
        </p:nvSpPr>
        <p:spPr>
          <a:xfrm>
            <a:off x="384048" y="1921094"/>
            <a:ext cx="1654302" cy="556595"/>
          </a:xfrm>
          <a:custGeom>
            <a:avLst/>
            <a:gdLst>
              <a:gd name="connsiteX0" fmla="*/ 0 w 1837764"/>
              <a:gd name="connsiteY0" fmla="*/ 0 h 807944"/>
              <a:gd name="connsiteX1" fmla="*/ 1837764 w 1837764"/>
              <a:gd name="connsiteY1" fmla="*/ 0 h 807944"/>
              <a:gd name="connsiteX2" fmla="*/ 1837764 w 1837764"/>
              <a:gd name="connsiteY2" fmla="*/ 807944 h 807944"/>
              <a:gd name="connsiteX3" fmla="*/ 0 w 1837764"/>
              <a:gd name="connsiteY3" fmla="*/ 807944 h 807944"/>
              <a:gd name="connsiteX4" fmla="*/ 0 w 1837764"/>
              <a:gd name="connsiteY4" fmla="*/ 0 h 807944"/>
              <a:gd name="connsiteX0" fmla="*/ 0 w 1837764"/>
              <a:gd name="connsiteY0" fmla="*/ 807944 h 899384"/>
              <a:gd name="connsiteX1" fmla="*/ 0 w 1837764"/>
              <a:gd name="connsiteY1" fmla="*/ 0 h 899384"/>
              <a:gd name="connsiteX2" fmla="*/ 1837764 w 1837764"/>
              <a:gd name="connsiteY2" fmla="*/ 0 h 899384"/>
              <a:gd name="connsiteX3" fmla="*/ 1837764 w 1837764"/>
              <a:gd name="connsiteY3" fmla="*/ 807944 h 899384"/>
              <a:gd name="connsiteX4" fmla="*/ 91440 w 1837764"/>
              <a:gd name="connsiteY4" fmla="*/ 899384 h 899384"/>
              <a:gd name="connsiteX0" fmla="*/ 0 w 1837764"/>
              <a:gd name="connsiteY0" fmla="*/ 807944 h 807944"/>
              <a:gd name="connsiteX1" fmla="*/ 0 w 1837764"/>
              <a:gd name="connsiteY1" fmla="*/ 0 h 807944"/>
              <a:gd name="connsiteX2" fmla="*/ 1837764 w 1837764"/>
              <a:gd name="connsiteY2" fmla="*/ 0 h 807944"/>
              <a:gd name="connsiteX3" fmla="*/ 1837764 w 1837764"/>
              <a:gd name="connsiteY3" fmla="*/ 807944 h 807944"/>
              <a:gd name="connsiteX0" fmla="*/ 0 w 1837764"/>
              <a:gd name="connsiteY0" fmla="*/ 0 h 807944"/>
              <a:gd name="connsiteX1" fmla="*/ 1837764 w 1837764"/>
              <a:gd name="connsiteY1" fmla="*/ 0 h 807944"/>
              <a:gd name="connsiteX2" fmla="*/ 1837764 w 1837764"/>
              <a:gd name="connsiteY2" fmla="*/ 807944 h 807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37764" h="807944">
                <a:moveTo>
                  <a:pt x="0" y="0"/>
                </a:moveTo>
                <a:lnTo>
                  <a:pt x="1837764" y="0"/>
                </a:lnTo>
                <a:lnTo>
                  <a:pt x="1837764" y="807944"/>
                </a:lnTo>
              </a:path>
            </a:pathLst>
          </a:cu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3152" rtlCol="0" anchor="t"/>
          <a:lstStyle/>
          <a:p>
            <a:pPr algn="l"/>
            <a:endParaRPr lang="en-US" sz="1600">
              <a:solidFill>
                <a:schemeClr val="bg1"/>
              </a:solidFill>
              <a:latin typeface="HPE Graphik Semibold" pitchFamily="50" charset="0"/>
            </a:endParaRPr>
          </a:p>
        </p:txBody>
      </p:sp>
      <p:sp>
        <p:nvSpPr>
          <p:cNvPr id="11" name="Rectangle 9">
            <a:extLst>
              <a:ext uri="{FF2B5EF4-FFF2-40B4-BE49-F238E27FC236}">
                <a16:creationId xmlns:a16="http://schemas.microsoft.com/office/drawing/2014/main" id="{341FEE89-5BE0-8571-3EC9-9738D8C95AA8}"/>
              </a:ext>
            </a:extLst>
          </p:cNvPr>
          <p:cNvSpPr/>
          <p:nvPr/>
        </p:nvSpPr>
        <p:spPr>
          <a:xfrm>
            <a:off x="8051446" y="1919905"/>
            <a:ext cx="1655064" cy="557784"/>
          </a:xfrm>
          <a:custGeom>
            <a:avLst/>
            <a:gdLst>
              <a:gd name="connsiteX0" fmla="*/ 0 w 1837764"/>
              <a:gd name="connsiteY0" fmla="*/ 0 h 611717"/>
              <a:gd name="connsiteX1" fmla="*/ 1837764 w 1837764"/>
              <a:gd name="connsiteY1" fmla="*/ 0 h 611717"/>
              <a:gd name="connsiteX2" fmla="*/ 1837764 w 1837764"/>
              <a:gd name="connsiteY2" fmla="*/ 611717 h 611717"/>
              <a:gd name="connsiteX3" fmla="*/ 0 w 1837764"/>
              <a:gd name="connsiteY3" fmla="*/ 611717 h 611717"/>
              <a:gd name="connsiteX4" fmla="*/ 0 w 1837764"/>
              <a:gd name="connsiteY4" fmla="*/ 0 h 611717"/>
              <a:gd name="connsiteX0" fmla="*/ 0 w 1837764"/>
              <a:gd name="connsiteY0" fmla="*/ 611717 h 703157"/>
              <a:gd name="connsiteX1" fmla="*/ 0 w 1837764"/>
              <a:gd name="connsiteY1" fmla="*/ 0 h 703157"/>
              <a:gd name="connsiteX2" fmla="*/ 1837764 w 1837764"/>
              <a:gd name="connsiteY2" fmla="*/ 0 h 703157"/>
              <a:gd name="connsiteX3" fmla="*/ 1837764 w 1837764"/>
              <a:gd name="connsiteY3" fmla="*/ 611717 h 703157"/>
              <a:gd name="connsiteX4" fmla="*/ 91440 w 1837764"/>
              <a:gd name="connsiteY4" fmla="*/ 703157 h 703157"/>
              <a:gd name="connsiteX0" fmla="*/ 0 w 1837764"/>
              <a:gd name="connsiteY0" fmla="*/ 611717 h 611717"/>
              <a:gd name="connsiteX1" fmla="*/ 0 w 1837764"/>
              <a:gd name="connsiteY1" fmla="*/ 0 h 611717"/>
              <a:gd name="connsiteX2" fmla="*/ 1837764 w 1837764"/>
              <a:gd name="connsiteY2" fmla="*/ 0 h 611717"/>
              <a:gd name="connsiteX3" fmla="*/ 1837764 w 1837764"/>
              <a:gd name="connsiteY3" fmla="*/ 611717 h 611717"/>
              <a:gd name="connsiteX0" fmla="*/ 0 w 1837764"/>
              <a:gd name="connsiteY0" fmla="*/ 0 h 611717"/>
              <a:gd name="connsiteX1" fmla="*/ 1837764 w 1837764"/>
              <a:gd name="connsiteY1" fmla="*/ 0 h 611717"/>
              <a:gd name="connsiteX2" fmla="*/ 1837764 w 1837764"/>
              <a:gd name="connsiteY2" fmla="*/ 611717 h 611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37764" h="611717">
                <a:moveTo>
                  <a:pt x="0" y="0"/>
                </a:moveTo>
                <a:lnTo>
                  <a:pt x="1837764" y="0"/>
                </a:lnTo>
                <a:lnTo>
                  <a:pt x="1837764" y="611717"/>
                </a:lnTo>
              </a:path>
            </a:pathLst>
          </a:custGeom>
          <a:noFill/>
          <a:ln w="28575"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3152" rtlCol="0" anchor="t"/>
          <a:lstStyle/>
          <a:p>
            <a:pPr algn="l"/>
            <a:endParaRPr lang="en-US" sz="1600">
              <a:solidFill>
                <a:schemeClr val="bg1"/>
              </a:solidFill>
              <a:latin typeface="HPE Graphik Semibold" pitchFamily="50" charset="0"/>
            </a:endParaRPr>
          </a:p>
        </p:txBody>
      </p:sp>
      <p:sp>
        <p:nvSpPr>
          <p:cNvPr id="18" name="Rectangle 10">
            <a:extLst>
              <a:ext uri="{FF2B5EF4-FFF2-40B4-BE49-F238E27FC236}">
                <a16:creationId xmlns:a16="http://schemas.microsoft.com/office/drawing/2014/main" id="{78DCF038-6E18-2215-B825-4562EE67C0B9}"/>
              </a:ext>
            </a:extLst>
          </p:cNvPr>
          <p:cNvSpPr/>
          <p:nvPr/>
        </p:nvSpPr>
        <p:spPr>
          <a:xfrm>
            <a:off x="9979407" y="1919905"/>
            <a:ext cx="1655064" cy="557784"/>
          </a:xfrm>
          <a:custGeom>
            <a:avLst/>
            <a:gdLst>
              <a:gd name="connsiteX0" fmla="*/ 0 w 1837764"/>
              <a:gd name="connsiteY0" fmla="*/ 0 h 611717"/>
              <a:gd name="connsiteX1" fmla="*/ 1837764 w 1837764"/>
              <a:gd name="connsiteY1" fmla="*/ 0 h 611717"/>
              <a:gd name="connsiteX2" fmla="*/ 1837764 w 1837764"/>
              <a:gd name="connsiteY2" fmla="*/ 611717 h 611717"/>
              <a:gd name="connsiteX3" fmla="*/ 0 w 1837764"/>
              <a:gd name="connsiteY3" fmla="*/ 611717 h 611717"/>
              <a:gd name="connsiteX4" fmla="*/ 0 w 1837764"/>
              <a:gd name="connsiteY4" fmla="*/ 0 h 611717"/>
              <a:gd name="connsiteX0" fmla="*/ 0 w 1837764"/>
              <a:gd name="connsiteY0" fmla="*/ 611717 h 703157"/>
              <a:gd name="connsiteX1" fmla="*/ 0 w 1837764"/>
              <a:gd name="connsiteY1" fmla="*/ 0 h 703157"/>
              <a:gd name="connsiteX2" fmla="*/ 1837764 w 1837764"/>
              <a:gd name="connsiteY2" fmla="*/ 0 h 703157"/>
              <a:gd name="connsiteX3" fmla="*/ 1837764 w 1837764"/>
              <a:gd name="connsiteY3" fmla="*/ 611717 h 703157"/>
              <a:gd name="connsiteX4" fmla="*/ 91440 w 1837764"/>
              <a:gd name="connsiteY4" fmla="*/ 703157 h 703157"/>
              <a:gd name="connsiteX0" fmla="*/ 0 w 1837764"/>
              <a:gd name="connsiteY0" fmla="*/ 611717 h 611717"/>
              <a:gd name="connsiteX1" fmla="*/ 0 w 1837764"/>
              <a:gd name="connsiteY1" fmla="*/ 0 h 611717"/>
              <a:gd name="connsiteX2" fmla="*/ 1837764 w 1837764"/>
              <a:gd name="connsiteY2" fmla="*/ 0 h 611717"/>
              <a:gd name="connsiteX3" fmla="*/ 1837764 w 1837764"/>
              <a:gd name="connsiteY3" fmla="*/ 611717 h 611717"/>
              <a:gd name="connsiteX0" fmla="*/ 0 w 1837764"/>
              <a:gd name="connsiteY0" fmla="*/ 0 h 611717"/>
              <a:gd name="connsiteX1" fmla="*/ 1837764 w 1837764"/>
              <a:gd name="connsiteY1" fmla="*/ 0 h 611717"/>
              <a:gd name="connsiteX2" fmla="*/ 1837764 w 1837764"/>
              <a:gd name="connsiteY2" fmla="*/ 611717 h 611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37764" h="611717">
                <a:moveTo>
                  <a:pt x="0" y="0"/>
                </a:moveTo>
                <a:lnTo>
                  <a:pt x="1837764" y="0"/>
                </a:lnTo>
                <a:lnTo>
                  <a:pt x="1837764" y="611717"/>
                </a:lnTo>
              </a:path>
            </a:pathLst>
          </a:custGeom>
          <a:noFill/>
          <a:ln w="28575"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3152" rtlCol="0" anchor="t"/>
          <a:lstStyle/>
          <a:p>
            <a:pPr algn="l"/>
            <a:endParaRPr lang="en-US" sz="1600">
              <a:solidFill>
                <a:schemeClr val="bg1"/>
              </a:solidFill>
              <a:latin typeface="HPE Graphik Semibold" pitchFamily="50" charset="0"/>
            </a:endParaRP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9D93EB9-D9E1-55C5-95E8-9C562FD1FCC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9730" y="2621731"/>
            <a:ext cx="1609344" cy="3355848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-137160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Char char="•"/>
              <a:defRPr sz="1400"/>
            </a:lvl2pPr>
            <a:lvl3pPr marL="301625" indent="-136525">
              <a:lnSpc>
                <a:spcPct val="100000"/>
              </a:lnSpc>
              <a:spcBef>
                <a:spcPts val="300"/>
              </a:spcBef>
              <a:defRPr sz="1400"/>
            </a:lvl3pPr>
            <a:lvl4pPr marL="438912" indent="-137160">
              <a:defRPr sz="1400"/>
            </a:lvl4pPr>
            <a:lvl5pPr>
              <a:defRPr sz="1800"/>
            </a:lvl5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6AA4197-BCC5-37BA-F5A1-5376504FE88B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2294357" y="2621731"/>
            <a:ext cx="1609344" cy="3355848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-137160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Char char="•"/>
              <a:defRPr sz="1400"/>
            </a:lvl2pPr>
            <a:lvl3pPr marL="301625" indent="-136525">
              <a:lnSpc>
                <a:spcPct val="100000"/>
              </a:lnSpc>
              <a:spcBef>
                <a:spcPts val="300"/>
              </a:spcBef>
              <a:defRPr sz="1400"/>
            </a:lvl3pPr>
            <a:lvl4pPr marL="438912" indent="-137160">
              <a:defRPr sz="1400"/>
            </a:lvl4pPr>
            <a:lvl5pPr>
              <a:defRPr sz="1800"/>
            </a:lvl5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A565B5CE-A6D7-9E80-5B97-EE698A6383FB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22192" y="2621731"/>
            <a:ext cx="1609344" cy="3355848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-137160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Char char="•"/>
              <a:defRPr sz="1400"/>
            </a:lvl2pPr>
            <a:lvl3pPr marL="301625" indent="-136525">
              <a:lnSpc>
                <a:spcPct val="100000"/>
              </a:lnSpc>
              <a:spcBef>
                <a:spcPts val="300"/>
              </a:spcBef>
              <a:defRPr sz="1400"/>
            </a:lvl3pPr>
            <a:lvl4pPr marL="438912" indent="-137160">
              <a:defRPr sz="1400"/>
            </a:lvl4pPr>
            <a:lvl5pPr>
              <a:defRPr sz="1800"/>
            </a:lvl5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4C9EC958-B1D2-B3A3-E7A4-C5FF2FF07CB9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6139867" y="2621731"/>
            <a:ext cx="1609344" cy="3355848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-137160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Char char="•"/>
              <a:defRPr sz="1400"/>
            </a:lvl2pPr>
            <a:lvl3pPr marL="301625" indent="-136525">
              <a:lnSpc>
                <a:spcPct val="100000"/>
              </a:lnSpc>
              <a:spcBef>
                <a:spcPts val="300"/>
              </a:spcBef>
              <a:defRPr sz="1400"/>
            </a:lvl3pPr>
            <a:lvl4pPr marL="438912" indent="-137160">
              <a:defRPr sz="1400"/>
            </a:lvl4pPr>
            <a:lvl5pPr>
              <a:defRPr sz="1800"/>
            </a:lvl5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809A0E23-F2A5-E26E-C2EA-0C1BE81EADBB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8051446" y="2621731"/>
            <a:ext cx="1609344" cy="3355848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-137160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Char char="•"/>
              <a:defRPr sz="1400"/>
            </a:lvl2pPr>
            <a:lvl3pPr marL="301625" indent="-136525">
              <a:lnSpc>
                <a:spcPct val="100000"/>
              </a:lnSpc>
              <a:spcBef>
                <a:spcPts val="300"/>
              </a:spcBef>
              <a:defRPr sz="1400"/>
            </a:lvl3pPr>
            <a:lvl4pPr marL="438912" indent="-137160">
              <a:defRPr sz="1400"/>
            </a:lvl4pPr>
            <a:lvl5pPr>
              <a:defRPr sz="1800"/>
            </a:lvl5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EAF8231B-BA2E-9CD1-FD59-E8E3972B0C35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9979407" y="2621731"/>
            <a:ext cx="1609344" cy="3355848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-137160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Char char="•"/>
              <a:defRPr sz="1400"/>
            </a:lvl2pPr>
            <a:lvl3pPr marL="301625" indent="-136525">
              <a:lnSpc>
                <a:spcPct val="100000"/>
              </a:lnSpc>
              <a:spcBef>
                <a:spcPts val="300"/>
              </a:spcBef>
              <a:defRPr sz="1400"/>
            </a:lvl3pPr>
            <a:lvl4pPr marL="438912" indent="-137160">
              <a:defRPr sz="1400"/>
            </a:lvl4pPr>
            <a:lvl5pPr>
              <a:defRPr sz="1800"/>
            </a:lvl5pPr>
          </a:lstStyle>
          <a:p>
            <a:r>
              <a:rPr lang="en-US"/>
              <a:t>Body copy </a:t>
            </a:r>
          </a:p>
          <a:p>
            <a:pPr lvl="1"/>
            <a:r>
              <a:rPr lang="en-US"/>
              <a:t>Bullet level one</a:t>
            </a:r>
          </a:p>
          <a:p>
            <a:pPr lvl="2"/>
            <a:r>
              <a:rPr lang="en-US"/>
              <a:t>Bullet level two</a:t>
            </a:r>
          </a:p>
          <a:p>
            <a:pPr lvl="3"/>
            <a:r>
              <a:rPr lang="en-US"/>
              <a:t>Bullet level thre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5AE1562-973D-6698-B3EA-DB16B1497F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F69B3C9-A9B1-6DD5-61AC-A894E91356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8CF5780F-A037-39E6-3C58-A8BAEC384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1044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Idea 1">
    <p:bg>
      <p:bgPr>
        <a:gradFill flip="none" rotWithShape="1">
          <a:gsLst>
            <a:gs pos="2000">
              <a:schemeClr val="tx1"/>
            </a:gs>
            <a:gs pos="49000">
              <a:schemeClr val="tx1">
                <a:alpha val="82000"/>
              </a:schemeClr>
            </a:gs>
            <a:gs pos="26000">
              <a:schemeClr val="tx1">
                <a:alpha val="85000"/>
              </a:schemeClr>
            </a:gs>
            <a:gs pos="100000">
              <a:srgbClr val="01A982"/>
            </a:gs>
            <a:gs pos="87000">
              <a:schemeClr val="accent1">
                <a:lumMod val="50000"/>
                <a:alpha val="86000"/>
              </a:schemeClr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63B3E205-F60A-44B3-F47D-5266339A2C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1375963"/>
            <a:ext cx="10817352" cy="4091186"/>
          </a:xfrm>
          <a:gradFill flip="none" rotWithShape="1">
            <a:gsLst>
              <a:gs pos="60000">
                <a:schemeClr val="accent1">
                  <a:lumMod val="50000"/>
                  <a:alpha val="25000"/>
                </a:schemeClr>
              </a:gs>
              <a:gs pos="77000">
                <a:schemeClr val="accent1">
                  <a:lumMod val="50000"/>
                  <a:alpha val="37000"/>
                </a:schemeClr>
              </a:gs>
              <a:gs pos="1000">
                <a:schemeClr val="tx1"/>
              </a:gs>
              <a:gs pos="22000">
                <a:schemeClr val="tx1">
                  <a:alpha val="29000"/>
                </a:schemeClr>
              </a:gs>
              <a:gs pos="47000">
                <a:schemeClr val="tx1">
                  <a:alpha val="6000"/>
                </a:schemeClr>
              </a:gs>
              <a:gs pos="100000">
                <a:srgbClr val="01A982"/>
              </a:gs>
            </a:gsLst>
            <a:lin ang="0" scaled="1"/>
            <a:tileRect/>
          </a:gradFill>
        </p:spPr>
        <p:txBody>
          <a:bodyPr vert="horz" lIns="0" tIns="45720" rIns="91440" bIns="45720" rtlCol="0">
            <a:noAutofit/>
          </a:bodyPr>
          <a:lstStyle>
            <a:lvl1pPr>
              <a:defRPr lang="en-US" dirty="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8"/>
            <a:ext cx="9844088" cy="847538"/>
          </a:xfrm>
        </p:spPr>
        <p:txBody>
          <a:bodyPr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Big idea statement single lin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5C76B0B3-CD63-C02A-0E06-AE7F8F7311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4410FDA5-121E-026E-A970-A56B1080B1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9434B39-FD71-1676-EC29-EC8697344E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970766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Idea 2">
    <p:bg>
      <p:bgPr>
        <a:gradFill>
          <a:gsLst>
            <a:gs pos="2000">
              <a:schemeClr val="tx1"/>
            </a:gs>
            <a:gs pos="49000">
              <a:schemeClr val="tx1">
                <a:alpha val="82000"/>
              </a:schemeClr>
            </a:gs>
            <a:gs pos="26000">
              <a:schemeClr val="tx1">
                <a:alpha val="85000"/>
              </a:schemeClr>
            </a:gs>
            <a:gs pos="100000">
              <a:srgbClr val="01A982"/>
            </a:gs>
            <a:gs pos="87000">
              <a:schemeClr val="accent1">
                <a:lumMod val="50000"/>
                <a:alpha val="86000"/>
              </a:schemeClr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11DE90A-2765-47CB-1E35-33AD7C2DA1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1375963"/>
            <a:ext cx="10817352" cy="4091186"/>
          </a:xfrm>
          <a:gradFill flip="none" rotWithShape="1">
            <a:gsLst>
              <a:gs pos="60000">
                <a:schemeClr val="accent1">
                  <a:lumMod val="50000"/>
                  <a:alpha val="25000"/>
                </a:schemeClr>
              </a:gs>
              <a:gs pos="77000">
                <a:schemeClr val="accent1">
                  <a:lumMod val="50000"/>
                  <a:alpha val="37000"/>
                </a:schemeClr>
              </a:gs>
              <a:gs pos="1000">
                <a:schemeClr val="tx1"/>
              </a:gs>
              <a:gs pos="22000">
                <a:schemeClr val="tx1">
                  <a:alpha val="29000"/>
                </a:schemeClr>
              </a:gs>
              <a:gs pos="47000">
                <a:schemeClr val="tx1">
                  <a:alpha val="6000"/>
                </a:schemeClr>
              </a:gs>
              <a:gs pos="100000">
                <a:srgbClr val="01A982"/>
              </a:gs>
            </a:gsLst>
            <a:lin ang="0" scaled="1"/>
            <a:tileRect/>
          </a:gradFill>
        </p:spPr>
        <p:txBody>
          <a:bodyPr vert="horz" lIns="0" tIns="45720" rIns="91440" bIns="45720" rtlCol="0">
            <a:noAutofit/>
          </a:bodyPr>
          <a:lstStyle>
            <a:lvl1pPr>
              <a:defRPr lang="en-US" dirty="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8"/>
            <a:ext cx="9457413" cy="2304288"/>
          </a:xfrm>
        </p:spPr>
        <p:txBody>
          <a:bodyPr/>
          <a:lstStyle>
            <a:lvl1pPr>
              <a:lnSpc>
                <a:spcPct val="85000"/>
              </a:lnSpc>
              <a:defRPr sz="5500">
                <a:solidFill>
                  <a:schemeClr val="bg1"/>
                </a:solidFill>
                <a:latin typeface="HPE Graphik Light" pitchFamily="50" charset="0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3813854-2F26-E811-AAA7-21B7563A4F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DF8B3ED1-14C6-F900-EBEA-0BB6CE2B4B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FAB68A3-715F-0518-1CED-5E6A5A4B69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44049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AFC948D4-0CEC-6A2D-189D-04B09EF14D9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989949" y="0"/>
            <a:ext cx="6858000" cy="6858000"/>
          </a:xfrm>
          <a:custGeom>
            <a:avLst/>
            <a:gdLst>
              <a:gd name="connsiteX0" fmla="*/ 709302 w 6846809"/>
              <a:gd name="connsiteY0" fmla="*/ 0 h 6875033"/>
              <a:gd name="connsiteX1" fmla="*/ 3782135 w 6846809"/>
              <a:gd name="connsiteY1" fmla="*/ 0 h 6875033"/>
              <a:gd name="connsiteX2" fmla="*/ 6846809 w 6846809"/>
              <a:gd name="connsiteY2" fmla="*/ 3035696 h 6875033"/>
              <a:gd name="connsiteX3" fmla="*/ 3043775 w 6846809"/>
              <a:gd name="connsiteY3" fmla="*/ 6875033 h 6875033"/>
              <a:gd name="connsiteX4" fmla="*/ 0 w 6846809"/>
              <a:gd name="connsiteY4" fmla="*/ 6875033 h 6875033"/>
              <a:gd name="connsiteX5" fmla="*/ 0 w 6846809"/>
              <a:gd name="connsiteY5" fmla="*/ 6875032 h 6875033"/>
              <a:gd name="connsiteX6" fmla="*/ 3788642 w 6846809"/>
              <a:gd name="connsiteY6" fmla="*/ 3050224 h 6875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46809" h="6875033">
                <a:moveTo>
                  <a:pt x="709302" y="0"/>
                </a:moveTo>
                <a:lnTo>
                  <a:pt x="3782135" y="0"/>
                </a:lnTo>
                <a:lnTo>
                  <a:pt x="6846809" y="3035696"/>
                </a:lnTo>
                <a:lnTo>
                  <a:pt x="3043775" y="6875033"/>
                </a:lnTo>
                <a:lnTo>
                  <a:pt x="0" y="6875033"/>
                </a:lnTo>
                <a:lnTo>
                  <a:pt x="0" y="6875032"/>
                </a:lnTo>
                <a:lnTo>
                  <a:pt x="3788642" y="3050224"/>
                </a:lnTo>
                <a:close/>
              </a:path>
            </a:pathLst>
          </a:custGeom>
          <a:gradFill flip="none" rotWithShape="1">
            <a:gsLst>
              <a:gs pos="20000">
                <a:schemeClr val="tx1"/>
              </a:gs>
              <a:gs pos="60000">
                <a:schemeClr val="accent1">
                  <a:lumMod val="85000"/>
                  <a:alpha val="55449"/>
                </a:schemeClr>
              </a:gs>
              <a:gs pos="93000">
                <a:srgbClr val="01A982"/>
              </a:gs>
            </a:gsLst>
            <a:lin ang="201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91440" bIns="45720" rtlCol="0" anchor="ctr">
            <a:noAutofit/>
          </a:bodyPr>
          <a:lstStyle>
            <a:lvl1pPr>
              <a:defRPr lang="en-US" sz="100" dirty="0">
                <a:noFill/>
                <a:latin typeface="HPE Graphik Light" pitchFamily="50" charset="0"/>
              </a:defRPr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22576"/>
            <a:ext cx="10098780" cy="847538"/>
          </a:xfrm>
        </p:spPr>
        <p:txBody>
          <a:bodyPr/>
          <a:lstStyle>
            <a:lvl1pPr>
              <a:defRPr sz="5500">
                <a:solidFill>
                  <a:schemeClr val="bg1"/>
                </a:solidFill>
              </a:defRPr>
            </a:lvl1pPr>
          </a:lstStyle>
          <a:p>
            <a:r>
              <a:rPr lang="en-US"/>
              <a:t>Big idea statement single lin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251EBBB9-CF9C-846A-0F29-E5C24CB4A6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72FEC898-9305-9753-5341-7AAA38D761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A3BD7E9-1E5B-BEB3-1BA5-9A70718447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62791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multiple lin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5">
            <a:extLst>
              <a:ext uri="{FF2B5EF4-FFF2-40B4-BE49-F238E27FC236}">
                <a16:creationId xmlns:a16="http://schemas.microsoft.com/office/drawing/2014/main" id="{2C672C22-F6BF-2380-E14C-5D76360CFA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989949" y="0"/>
            <a:ext cx="6858000" cy="6858000"/>
          </a:xfrm>
          <a:custGeom>
            <a:avLst/>
            <a:gdLst>
              <a:gd name="connsiteX0" fmla="*/ 709302 w 6846809"/>
              <a:gd name="connsiteY0" fmla="*/ 0 h 6875033"/>
              <a:gd name="connsiteX1" fmla="*/ 3782135 w 6846809"/>
              <a:gd name="connsiteY1" fmla="*/ 0 h 6875033"/>
              <a:gd name="connsiteX2" fmla="*/ 6846809 w 6846809"/>
              <a:gd name="connsiteY2" fmla="*/ 3035696 h 6875033"/>
              <a:gd name="connsiteX3" fmla="*/ 3043775 w 6846809"/>
              <a:gd name="connsiteY3" fmla="*/ 6875033 h 6875033"/>
              <a:gd name="connsiteX4" fmla="*/ 0 w 6846809"/>
              <a:gd name="connsiteY4" fmla="*/ 6875033 h 6875033"/>
              <a:gd name="connsiteX5" fmla="*/ 0 w 6846809"/>
              <a:gd name="connsiteY5" fmla="*/ 6875032 h 6875033"/>
              <a:gd name="connsiteX6" fmla="*/ 3788642 w 6846809"/>
              <a:gd name="connsiteY6" fmla="*/ 3050224 h 6875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46809" h="6875033">
                <a:moveTo>
                  <a:pt x="709302" y="0"/>
                </a:moveTo>
                <a:lnTo>
                  <a:pt x="3782135" y="0"/>
                </a:lnTo>
                <a:lnTo>
                  <a:pt x="6846809" y="3035696"/>
                </a:lnTo>
                <a:lnTo>
                  <a:pt x="3043775" y="6875033"/>
                </a:lnTo>
                <a:lnTo>
                  <a:pt x="0" y="6875033"/>
                </a:lnTo>
                <a:lnTo>
                  <a:pt x="0" y="6875032"/>
                </a:lnTo>
                <a:lnTo>
                  <a:pt x="3788642" y="3050224"/>
                </a:lnTo>
                <a:close/>
              </a:path>
            </a:pathLst>
          </a:custGeom>
          <a:gradFill flip="none" rotWithShape="1">
            <a:gsLst>
              <a:gs pos="20000">
                <a:schemeClr val="tx1"/>
              </a:gs>
              <a:gs pos="60000">
                <a:schemeClr val="accent1">
                  <a:lumMod val="85000"/>
                  <a:alpha val="55449"/>
                </a:schemeClr>
              </a:gs>
              <a:gs pos="92000">
                <a:srgbClr val="01A982"/>
              </a:gs>
            </a:gsLst>
            <a:lin ang="201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91440" bIns="45720" rtlCol="0" anchor="ctr">
            <a:noAutofit/>
          </a:bodyPr>
          <a:lstStyle>
            <a:lvl1pPr>
              <a:defRPr lang="en-US" sz="100" dirty="0">
                <a:noFill/>
                <a:latin typeface="HPE Graphik Light" pitchFamily="50" charset="0"/>
              </a:defRPr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8"/>
            <a:ext cx="9457413" cy="2304288"/>
          </a:xfrm>
        </p:spPr>
        <p:txBody>
          <a:bodyPr/>
          <a:lstStyle>
            <a:lvl1pPr>
              <a:lnSpc>
                <a:spcPct val="85000"/>
              </a:lnSpc>
              <a:defRPr sz="5500">
                <a:solidFill>
                  <a:schemeClr val="bg1"/>
                </a:solidFill>
                <a:latin typeface="HPE Graphik Light" pitchFamily="50" charset="0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300C277-2C20-0C4B-50D2-921CBDE49A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50428A-F7EE-9D8C-A25E-65D79E0247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6E2C4D4-777B-1BC4-38E9-F45D68A9BB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6995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E73E4D6-A687-8988-0047-9C25B875ECE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0"/>
            <a:ext cx="6949440" cy="6858000"/>
          </a:xfrm>
          <a:custGeom>
            <a:avLst/>
            <a:gdLst>
              <a:gd name="connsiteX0" fmla="*/ 709302 w 6846809"/>
              <a:gd name="connsiteY0" fmla="*/ 0 h 6875033"/>
              <a:gd name="connsiteX1" fmla="*/ 3782135 w 6846809"/>
              <a:gd name="connsiteY1" fmla="*/ 0 h 6875033"/>
              <a:gd name="connsiteX2" fmla="*/ 6846809 w 6846809"/>
              <a:gd name="connsiteY2" fmla="*/ 3035696 h 6875033"/>
              <a:gd name="connsiteX3" fmla="*/ 3043775 w 6846809"/>
              <a:gd name="connsiteY3" fmla="*/ 6875033 h 6875033"/>
              <a:gd name="connsiteX4" fmla="*/ 0 w 6846809"/>
              <a:gd name="connsiteY4" fmla="*/ 6875033 h 6875033"/>
              <a:gd name="connsiteX5" fmla="*/ 0 w 6846809"/>
              <a:gd name="connsiteY5" fmla="*/ 6875032 h 6875033"/>
              <a:gd name="connsiteX6" fmla="*/ 3788642 w 6846809"/>
              <a:gd name="connsiteY6" fmla="*/ 3050224 h 6875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46809" h="6875033">
                <a:moveTo>
                  <a:pt x="709302" y="0"/>
                </a:moveTo>
                <a:lnTo>
                  <a:pt x="3782135" y="0"/>
                </a:lnTo>
                <a:lnTo>
                  <a:pt x="6846809" y="3035696"/>
                </a:lnTo>
                <a:lnTo>
                  <a:pt x="3043775" y="6875033"/>
                </a:lnTo>
                <a:lnTo>
                  <a:pt x="0" y="6875033"/>
                </a:lnTo>
                <a:lnTo>
                  <a:pt x="0" y="6875032"/>
                </a:lnTo>
                <a:lnTo>
                  <a:pt x="3788642" y="3050224"/>
                </a:lnTo>
                <a:close/>
              </a:path>
            </a:pathLst>
          </a:custGeom>
          <a:gradFill flip="none" rotWithShape="1">
            <a:gsLst>
              <a:gs pos="85000">
                <a:schemeClr val="tx1">
                  <a:alpha val="0"/>
                </a:schemeClr>
              </a:gs>
              <a:gs pos="54000">
                <a:srgbClr val="0180E7"/>
              </a:gs>
              <a:gs pos="25000">
                <a:srgbClr val="05CC93"/>
              </a:gs>
              <a:gs pos="67000">
                <a:srgbClr val="1154AA"/>
              </a:gs>
              <a:gs pos="77000">
                <a:schemeClr val="tx1"/>
              </a:gs>
              <a:gs pos="60000">
                <a:srgbClr val="0070F8"/>
              </a:gs>
            </a:gsLst>
            <a:lin ang="8100000" scaled="1"/>
            <a:tileRect/>
          </a:gradFill>
        </p:spPr>
        <p:txBody>
          <a:bodyPr vert="horz" wrap="square" lIns="0" tIns="45720" rIns="91440" bIns="45720" rtlCol="0">
            <a:noAutofit/>
          </a:bodyPr>
          <a:lstStyle>
            <a:lvl1pPr>
              <a:defRPr lang="en-US" dirty="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47254" y="374904"/>
            <a:ext cx="4062159" cy="3431645"/>
          </a:xfrm>
        </p:spPr>
        <p:txBody>
          <a:bodyPr anchor="t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  <a:latin typeface="HPE Graphik Light" pitchFamily="50" charset="0"/>
              </a:defRPr>
            </a:lvl1pPr>
          </a:lstStyle>
          <a:p>
            <a:r>
              <a:rPr lang="en-US"/>
              <a:t>Big idea</a:t>
            </a:r>
            <a:br>
              <a:rPr lang="en-US"/>
            </a:br>
            <a:r>
              <a:rPr lang="en-US"/>
              <a:t>statement with</a:t>
            </a:r>
            <a:br>
              <a:rPr lang="en-US"/>
            </a:br>
            <a:r>
              <a:rPr lang="en-US"/>
              <a:t>multiple lines</a:t>
            </a:r>
            <a:br>
              <a:rPr lang="en-US"/>
            </a:br>
            <a:r>
              <a:rPr lang="en-US"/>
              <a:t>placed here</a:t>
            </a:r>
            <a:br>
              <a:rPr lang="en-US"/>
            </a:br>
            <a:r>
              <a:rPr lang="en-US"/>
              <a:t>lorem ipsum</a:t>
            </a:r>
            <a:br>
              <a:rPr lang="en-US"/>
            </a:br>
            <a:r>
              <a:rPr lang="en-US"/>
              <a:t>dolor sit </a:t>
            </a:r>
            <a:r>
              <a:rPr lang="en-US" err="1"/>
              <a:t>amet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50B35B5-0E16-96DF-0BFB-AB92FC91295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2FD5D3D-97F2-9E1F-5357-65AE1BC9DB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540EAEA-1473-610A-0B26-DD740A7D64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32820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E73E4D6-A687-8988-0047-9C25B875ECE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21040" y="-9144"/>
            <a:ext cx="6858000" cy="6858000"/>
          </a:xfrm>
          <a:custGeom>
            <a:avLst/>
            <a:gdLst>
              <a:gd name="connsiteX0" fmla="*/ 709302 w 6846809"/>
              <a:gd name="connsiteY0" fmla="*/ 0 h 6875033"/>
              <a:gd name="connsiteX1" fmla="*/ 3782135 w 6846809"/>
              <a:gd name="connsiteY1" fmla="*/ 0 h 6875033"/>
              <a:gd name="connsiteX2" fmla="*/ 6846809 w 6846809"/>
              <a:gd name="connsiteY2" fmla="*/ 3035696 h 6875033"/>
              <a:gd name="connsiteX3" fmla="*/ 3043775 w 6846809"/>
              <a:gd name="connsiteY3" fmla="*/ 6875033 h 6875033"/>
              <a:gd name="connsiteX4" fmla="*/ 0 w 6846809"/>
              <a:gd name="connsiteY4" fmla="*/ 6875033 h 6875033"/>
              <a:gd name="connsiteX5" fmla="*/ 0 w 6846809"/>
              <a:gd name="connsiteY5" fmla="*/ 6875032 h 6875033"/>
              <a:gd name="connsiteX6" fmla="*/ 3788642 w 6846809"/>
              <a:gd name="connsiteY6" fmla="*/ 3050224 h 6875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46809" h="6875033">
                <a:moveTo>
                  <a:pt x="709302" y="0"/>
                </a:moveTo>
                <a:lnTo>
                  <a:pt x="3782135" y="0"/>
                </a:lnTo>
                <a:lnTo>
                  <a:pt x="6846809" y="3035696"/>
                </a:lnTo>
                <a:lnTo>
                  <a:pt x="3043775" y="6875033"/>
                </a:lnTo>
                <a:lnTo>
                  <a:pt x="0" y="6875033"/>
                </a:lnTo>
                <a:lnTo>
                  <a:pt x="0" y="6875032"/>
                </a:lnTo>
                <a:lnTo>
                  <a:pt x="3788642" y="3050224"/>
                </a:lnTo>
                <a:close/>
              </a:path>
            </a:pathLst>
          </a:custGeom>
          <a:gradFill flip="none" rotWithShape="1">
            <a:gsLst>
              <a:gs pos="20000">
                <a:srgbClr val="05CC93"/>
              </a:gs>
              <a:gs pos="54000">
                <a:srgbClr val="0070F8"/>
              </a:gs>
              <a:gs pos="96552">
                <a:schemeClr val="tx1"/>
              </a:gs>
              <a:gs pos="82000">
                <a:schemeClr val="tx1">
                  <a:alpha val="59000"/>
                </a:schemeClr>
              </a:gs>
            </a:gsLst>
            <a:lin ang="9600000" scaled="0"/>
            <a:tileRect/>
          </a:gradFill>
        </p:spPr>
        <p:txBody>
          <a:bodyPr vert="horz" wrap="square" lIns="0" tIns="45720" rIns="91440" bIns="45720" rtlCol="0">
            <a:noAutofit/>
          </a:bodyPr>
          <a:lstStyle>
            <a:lvl1pPr>
              <a:defRPr lang="en-US" dirty="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212849"/>
            <a:ext cx="5676900" cy="3838702"/>
          </a:xfr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5000">
                <a:solidFill>
                  <a:schemeClr val="bg1"/>
                </a:solidFill>
                <a:latin typeface="HPE Graphik Light" pitchFamily="50" charset="0"/>
              </a:defRPr>
            </a:lvl1pPr>
          </a:lstStyle>
          <a:p>
            <a:pPr algn="l"/>
            <a:r>
              <a:rPr lang="en-US"/>
              <a:t>Big idea statement with multiple lines placed here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1273220-C66E-6D6E-4973-746E2D082F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1D32687-C378-2731-5780-8AFAC45619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4569508-3C4E-DA86-09EB-2679C4769F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39376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541418"/>
            <a:ext cx="5523992" cy="473746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541418"/>
            <a:ext cx="5523992" cy="473746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7092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F62E45-E646-3E7E-06BB-E3224354C3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551176"/>
            <a:ext cx="4764024" cy="875899"/>
          </a:xfrm>
        </p:spPr>
        <p:txBody>
          <a:bodyPr/>
          <a:lstStyle>
            <a:lvl1pPr>
              <a:defRPr sz="5600"/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F11BDEB5-202A-D756-8CAB-CB275237667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4" y="3392391"/>
            <a:ext cx="4764024" cy="876300"/>
          </a:xfrm>
        </p:spPr>
        <p:txBody>
          <a:bodyPr/>
          <a:lstStyle>
            <a:lvl1pPr>
              <a:spcBef>
                <a:spcPts val="0"/>
              </a:spcBef>
              <a:defRPr sz="1500"/>
            </a:lvl1pPr>
          </a:lstStyle>
          <a:p>
            <a:pPr lvl="0"/>
            <a:r>
              <a:rPr lang="en-US"/>
              <a:t>For additional resources,</a:t>
            </a:r>
            <a:br>
              <a:rPr lang="en-US"/>
            </a:br>
            <a:r>
              <a:rPr lang="en-US"/>
              <a:t>contact brand team at </a:t>
            </a:r>
            <a:r>
              <a:rPr lang="en-US" err="1"/>
              <a:t>xxx@hpe.com</a:t>
            </a:r>
            <a:endParaRPr lang="en-US"/>
          </a:p>
        </p:txBody>
      </p:sp>
      <p:sp>
        <p:nvSpPr>
          <p:cNvPr id="13" name="Text Placeholder 49">
            <a:extLst>
              <a:ext uri="{FF2B5EF4-FFF2-40B4-BE49-F238E27FC236}">
                <a16:creationId xmlns:a16="http://schemas.microsoft.com/office/drawing/2014/main" id="{B649E11F-E266-8609-8564-82440C1E4DB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0" y="1235006"/>
            <a:ext cx="9902952" cy="2215355"/>
          </a:xfrm>
          <a:custGeom>
            <a:avLst/>
            <a:gdLst>
              <a:gd name="connsiteX0" fmla="*/ 0 w 9909155"/>
              <a:gd name="connsiteY0" fmla="*/ 0 h 2215355"/>
              <a:gd name="connsiteX1" fmla="*/ 9909155 w 9909155"/>
              <a:gd name="connsiteY1" fmla="*/ 0 h 2215355"/>
              <a:gd name="connsiteX2" fmla="*/ 9909155 w 9909155"/>
              <a:gd name="connsiteY2" fmla="*/ 2215355 h 2215355"/>
              <a:gd name="connsiteX3" fmla="*/ 9025059 w 9909155"/>
              <a:gd name="connsiteY3" fmla="*/ 2215355 h 2215355"/>
              <a:gd name="connsiteX4" fmla="*/ 9025059 w 9909155"/>
              <a:gd name="connsiteY4" fmla="*/ 884110 h 2215355"/>
              <a:gd name="connsiteX5" fmla="*/ 0 w 9909155"/>
              <a:gd name="connsiteY5" fmla="*/ 884110 h 2215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09155" h="2215355">
                <a:moveTo>
                  <a:pt x="0" y="0"/>
                </a:moveTo>
                <a:lnTo>
                  <a:pt x="9909155" y="0"/>
                </a:lnTo>
                <a:lnTo>
                  <a:pt x="9909155" y="2215355"/>
                </a:lnTo>
                <a:lnTo>
                  <a:pt x="9025059" y="2215355"/>
                </a:lnTo>
                <a:lnTo>
                  <a:pt x="9025059" y="884110"/>
                </a:lnTo>
                <a:lnTo>
                  <a:pt x="0" y="884110"/>
                </a:lnTo>
                <a:close/>
              </a:path>
            </a:pathLst>
          </a:custGeom>
          <a:gradFill>
            <a:gsLst>
              <a:gs pos="24000">
                <a:srgbClr val="00E0AF"/>
              </a:gs>
              <a:gs pos="12000">
                <a:srgbClr val="05CC93"/>
              </a:gs>
              <a:gs pos="96552">
                <a:schemeClr val="tx1"/>
              </a:gs>
              <a:gs pos="70000">
                <a:srgbClr val="0070F8">
                  <a:alpha val="75000"/>
                </a:srgbClr>
              </a:gs>
            </a:gsLst>
            <a:lin ang="10200000" scaled="0"/>
          </a:gradFill>
        </p:spPr>
        <p:txBody>
          <a:bodyPr vert="horz" wrap="square" lIns="0" tIns="45720" rIns="91440" bIns="45720" rtlCol="0">
            <a:noAutofit/>
          </a:bodyPr>
          <a:lstStyle>
            <a:lvl1pPr>
              <a:defRPr lang="en-US" dirty="0" smtClean="0">
                <a:noFill/>
              </a:defRPr>
            </a:lvl1pPr>
            <a:lvl2pPr>
              <a:defRPr lang="en-US" dirty="0" smtClean="0">
                <a:noFill/>
              </a:defRPr>
            </a:lvl2pPr>
            <a:lvl3pPr>
              <a:defRPr lang="en-US" dirty="0" smtClean="0">
                <a:noFill/>
              </a:defRPr>
            </a:lvl3pPr>
            <a:lvl4pPr>
              <a:defRPr lang="en-US" dirty="0" smtClean="0">
                <a:noFill/>
              </a:defRPr>
            </a:lvl4pPr>
            <a:lvl5pPr>
              <a:defRPr lang="en-US" dirty="0">
                <a:noFill/>
                <a:latin typeface="HPE Graphik Light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52">
            <a:extLst>
              <a:ext uri="{FF2B5EF4-FFF2-40B4-BE49-F238E27FC236}">
                <a16:creationId xmlns:a16="http://schemas.microsoft.com/office/drawing/2014/main" id="{6D7DF2C8-D76B-EE25-C1A5-995235F9676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3450362"/>
            <a:ext cx="9902952" cy="2205195"/>
          </a:xfrm>
          <a:custGeom>
            <a:avLst/>
            <a:gdLst>
              <a:gd name="connsiteX0" fmla="*/ 9025059 w 9909155"/>
              <a:gd name="connsiteY0" fmla="*/ 0 h 2205195"/>
              <a:gd name="connsiteX1" fmla="*/ 9909155 w 9909155"/>
              <a:gd name="connsiteY1" fmla="*/ 0 h 2205195"/>
              <a:gd name="connsiteX2" fmla="*/ 9909155 w 9909155"/>
              <a:gd name="connsiteY2" fmla="*/ 2205195 h 2205195"/>
              <a:gd name="connsiteX3" fmla="*/ 0 w 9909155"/>
              <a:gd name="connsiteY3" fmla="*/ 2205195 h 2205195"/>
              <a:gd name="connsiteX4" fmla="*/ 0 w 9909155"/>
              <a:gd name="connsiteY4" fmla="*/ 1321085 h 2205195"/>
              <a:gd name="connsiteX5" fmla="*/ 9025059 w 9909155"/>
              <a:gd name="connsiteY5" fmla="*/ 1321085 h 22051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09155" h="2205195">
                <a:moveTo>
                  <a:pt x="9025059" y="0"/>
                </a:moveTo>
                <a:lnTo>
                  <a:pt x="9909155" y="0"/>
                </a:lnTo>
                <a:lnTo>
                  <a:pt x="9909155" y="2205195"/>
                </a:lnTo>
                <a:lnTo>
                  <a:pt x="0" y="2205195"/>
                </a:lnTo>
                <a:lnTo>
                  <a:pt x="0" y="1321085"/>
                </a:lnTo>
                <a:lnTo>
                  <a:pt x="9025059" y="1321085"/>
                </a:lnTo>
                <a:close/>
              </a:path>
            </a:pathLst>
          </a:custGeom>
          <a:gradFill flip="none" rotWithShape="1">
            <a:gsLst>
              <a:gs pos="76000">
                <a:srgbClr val="05CC93"/>
              </a:gs>
              <a:gs pos="11000">
                <a:schemeClr val="tx1"/>
              </a:gs>
              <a:gs pos="91000">
                <a:srgbClr val="05CC93"/>
              </a:gs>
              <a:gs pos="63000">
                <a:srgbClr val="00E0AF"/>
              </a:gs>
            </a:gsLst>
            <a:lin ang="0" scaled="1"/>
            <a:tileRect/>
          </a:gradFill>
        </p:spPr>
        <p:txBody>
          <a:bodyPr vert="horz" wrap="square" lIns="0" tIns="45720" rIns="91440" bIns="45720" rtlCol="0">
            <a:noAutofit/>
          </a:bodyPr>
          <a:lstStyle>
            <a:lvl1pPr>
              <a:defRPr lang="en-US" sz="100" dirty="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311EA15-54DB-4E3B-1E34-DFDD4D5924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BD789F0B-188A-6ECD-E025-673218655E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  <a:p>
            <a:pPr algn="r"/>
            <a:r>
              <a:rPr lang="en-US"/>
              <a:t>@2025 Hewlett Packard Enterprise Development LP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B037A8E-B946-A600-242F-7B0743C62F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524476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ark cover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B4236628-B867-8A33-A404-32E5032320AA}"/>
              </a:ext>
            </a:extLst>
          </p:cNvPr>
          <p:cNvGrpSpPr/>
          <p:nvPr/>
        </p:nvGrpSpPr>
        <p:grpSpPr>
          <a:xfrm>
            <a:off x="0" y="0"/>
            <a:ext cx="12188952" cy="6879695"/>
            <a:chOff x="0" y="0"/>
            <a:chExt cx="12188952" cy="6879695"/>
          </a:xfrm>
        </p:grpSpPr>
        <p:sp>
          <p:nvSpPr>
            <p:cNvPr id="12" name="Text Placeholder 260">
              <a:extLst>
                <a:ext uri="{FF2B5EF4-FFF2-40B4-BE49-F238E27FC236}">
                  <a16:creationId xmlns:a16="http://schemas.microsoft.com/office/drawing/2014/main" id="{794D4CAE-8C55-9451-57A0-795E38E1F49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0" y="0"/>
              <a:ext cx="12188952" cy="3467100"/>
            </a:xfrm>
            <a:custGeom>
              <a:avLst/>
              <a:gdLst>
                <a:gd name="connsiteX0" fmla="*/ 0 w 12215306"/>
                <a:gd name="connsiteY0" fmla="*/ 0 h 3429000"/>
                <a:gd name="connsiteX1" fmla="*/ 12215306 w 12215306"/>
                <a:gd name="connsiteY1" fmla="*/ 0 h 3429000"/>
                <a:gd name="connsiteX2" fmla="*/ 12215306 w 12215306"/>
                <a:gd name="connsiteY2" fmla="*/ 3429000 h 3429000"/>
                <a:gd name="connsiteX3" fmla="*/ 10839384 w 12215306"/>
                <a:gd name="connsiteY3" fmla="*/ 3429000 h 3429000"/>
                <a:gd name="connsiteX4" fmla="*/ 10839384 w 12215306"/>
                <a:gd name="connsiteY4" fmla="*/ 1375939 h 3429000"/>
                <a:gd name="connsiteX5" fmla="*/ 0 w 12215306"/>
                <a:gd name="connsiteY5" fmla="*/ 1375939 h 342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215306" h="3429000">
                  <a:moveTo>
                    <a:pt x="0" y="0"/>
                  </a:moveTo>
                  <a:lnTo>
                    <a:pt x="12215306" y="0"/>
                  </a:lnTo>
                  <a:lnTo>
                    <a:pt x="12215306" y="3429000"/>
                  </a:lnTo>
                  <a:lnTo>
                    <a:pt x="10839384" y="3429000"/>
                  </a:lnTo>
                  <a:lnTo>
                    <a:pt x="10839384" y="1375939"/>
                  </a:lnTo>
                  <a:lnTo>
                    <a:pt x="0" y="1375939"/>
                  </a:lnTo>
                  <a:close/>
                </a:path>
              </a:pathLst>
            </a:custGeom>
            <a:gradFill>
              <a:gsLst>
                <a:gs pos="46000">
                  <a:schemeClr val="accent4">
                    <a:lumMod val="75000"/>
                  </a:schemeClr>
                </a:gs>
                <a:gs pos="39000">
                  <a:srgbClr val="00E0AF"/>
                </a:gs>
                <a:gs pos="14000">
                  <a:srgbClr val="05CC93"/>
                </a:gs>
                <a:gs pos="60000">
                  <a:srgbClr val="0070F8"/>
                </a:gs>
                <a:gs pos="96552">
                  <a:schemeClr val="tx1"/>
                </a:gs>
                <a:gs pos="87000">
                  <a:schemeClr val="tx1">
                    <a:alpha val="0"/>
                  </a:schemeClr>
                </a:gs>
              </a:gsLst>
              <a:lin ang="12000000" scaled="0"/>
            </a:gradFill>
          </p:spPr>
          <p:txBody>
            <a:bodyPr vert="horz" wrap="square" lIns="0" tIns="45720" rIns="0" bIns="45720" rtlCol="0">
              <a:noAutofit/>
            </a:bodyPr>
            <a:lstStyle>
              <a:lvl1pPr marL="285750" indent="-28575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lang="en-US" sz="100" kern="1200">
                  <a:noFill/>
                  <a:latin typeface="+mn-lt"/>
                  <a:ea typeface="+mn-ea"/>
                  <a:cs typeface="+mn-cs"/>
                </a:defRPr>
              </a:lvl1pPr>
              <a:lvl2pPr marL="0" indent="-32004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Graphik Light" panose="020B0403030202060203" pitchFamily="34" charset="0"/>
                <a:buChar char="—"/>
                <a:defRPr lang="en-US" sz="100" kern="1200">
                  <a:noFill/>
                  <a:latin typeface="+mn-lt"/>
                  <a:ea typeface="+mn-ea"/>
                  <a:cs typeface="+mn-cs"/>
                </a:defRPr>
              </a:lvl2pPr>
              <a:lvl3pPr marL="641350" indent="-319088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Graphik Light" panose="020B0403030202060203" pitchFamily="34" charset="0"/>
                <a:buChar char="—"/>
                <a:tabLst/>
                <a:defRPr lang="en-US" sz="100" kern="1200">
                  <a:noFill/>
                  <a:latin typeface="+mn-lt"/>
                  <a:ea typeface="+mn-ea"/>
                  <a:cs typeface="+mn-cs"/>
                </a:defRPr>
              </a:lvl3pPr>
              <a:lvl4pPr marL="962025" indent="-319088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Graphik Light" panose="020B0403030202060203" pitchFamily="34" charset="0"/>
                <a:buChar char="—"/>
                <a:tabLst/>
                <a:defRPr lang="en-US" sz="100" kern="1200">
                  <a:noFill/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lang="en-US" sz="100" kern="1200">
                  <a:noFill/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>
                  <a:latin typeface="HPE Graphik Light" pitchFamily="50" charset="0"/>
                </a:rPr>
                <a:t>Click to edit Master text styles</a:t>
              </a:r>
            </a:p>
            <a:p>
              <a:pPr lvl="1"/>
              <a:r>
                <a:rPr lang="en-US">
                  <a:latin typeface="HPE Graphik Light" pitchFamily="50" charset="0"/>
                </a:rPr>
                <a:t>Second level</a:t>
              </a:r>
            </a:p>
            <a:p>
              <a:pPr lvl="2"/>
              <a:r>
                <a:rPr lang="en-US">
                  <a:latin typeface="HPE Graphik Light" pitchFamily="50" charset="0"/>
                </a:rPr>
                <a:t>Third level</a:t>
              </a:r>
            </a:p>
            <a:p>
              <a:pPr lvl="3"/>
              <a:r>
                <a:rPr lang="en-US">
                  <a:latin typeface="HPE Graphik Light" pitchFamily="50" charset="0"/>
                </a:rPr>
                <a:t>Fourth level</a:t>
              </a:r>
            </a:p>
            <a:p>
              <a:pPr lvl="4"/>
              <a:r>
                <a:rPr lang="en-US">
                  <a:latin typeface="HPE Graphik Light" pitchFamily="50" charset="0"/>
                </a:rPr>
                <a:t>Fifth level</a:t>
              </a:r>
            </a:p>
          </p:txBody>
        </p:sp>
        <p:sp>
          <p:nvSpPr>
            <p:cNvPr id="13" name="Text Placeholder 263">
              <a:extLst>
                <a:ext uri="{FF2B5EF4-FFF2-40B4-BE49-F238E27FC236}">
                  <a16:creationId xmlns:a16="http://schemas.microsoft.com/office/drawing/2014/main" id="{D94C0727-0EFE-1CDE-4232-07EAB84F224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0" y="3397250"/>
              <a:ext cx="12188952" cy="3482445"/>
            </a:xfrm>
            <a:custGeom>
              <a:avLst/>
              <a:gdLst>
                <a:gd name="connsiteX0" fmla="*/ 10839384 w 12215306"/>
                <a:gd name="connsiteY0" fmla="*/ 0 h 3443475"/>
                <a:gd name="connsiteX1" fmla="*/ 12215306 w 12215306"/>
                <a:gd name="connsiteY1" fmla="*/ 0 h 3443475"/>
                <a:gd name="connsiteX2" fmla="*/ 12215306 w 12215306"/>
                <a:gd name="connsiteY2" fmla="*/ 3443475 h 3443475"/>
                <a:gd name="connsiteX3" fmla="*/ 0 w 12215306"/>
                <a:gd name="connsiteY3" fmla="*/ 3443475 h 3443475"/>
                <a:gd name="connsiteX4" fmla="*/ 0 w 12215306"/>
                <a:gd name="connsiteY4" fmla="*/ 2067536 h 3443475"/>
                <a:gd name="connsiteX5" fmla="*/ 10839384 w 12215306"/>
                <a:gd name="connsiteY5" fmla="*/ 2067536 h 344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215306" h="3443475">
                  <a:moveTo>
                    <a:pt x="10839384" y="0"/>
                  </a:moveTo>
                  <a:lnTo>
                    <a:pt x="12215306" y="0"/>
                  </a:lnTo>
                  <a:lnTo>
                    <a:pt x="12215306" y="3443475"/>
                  </a:lnTo>
                  <a:lnTo>
                    <a:pt x="0" y="3443475"/>
                  </a:lnTo>
                  <a:lnTo>
                    <a:pt x="0" y="2067536"/>
                  </a:lnTo>
                  <a:lnTo>
                    <a:pt x="10839384" y="2067536"/>
                  </a:lnTo>
                  <a:close/>
                </a:path>
              </a:pathLst>
            </a:custGeom>
            <a:gradFill flip="none" rotWithShape="1">
              <a:gsLst>
                <a:gs pos="17000">
                  <a:schemeClr val="tx1">
                    <a:alpha val="18945"/>
                  </a:schemeClr>
                </a:gs>
                <a:gs pos="52000">
                  <a:srgbClr val="05CC93"/>
                </a:gs>
              </a:gsLst>
              <a:lin ang="1800000" scaled="0"/>
              <a:tileRect/>
            </a:gradFill>
          </p:spPr>
          <p:txBody>
            <a:bodyPr vert="horz" wrap="square" lIns="0" tIns="45720" rIns="0" bIns="45720" rtlCol="0">
              <a:noAutofit/>
            </a:bodyPr>
            <a:lstStyle>
              <a:lvl1pPr marL="285750" indent="-28575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lang="en-US" sz="100" kern="1200" smtClean="0">
                  <a:noFill/>
                  <a:latin typeface="+mn-lt"/>
                  <a:ea typeface="+mn-ea"/>
                  <a:cs typeface="+mn-cs"/>
                </a:defRPr>
              </a:lvl1pPr>
              <a:lvl2pPr marL="0" indent="-32004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Graphik Light" panose="020B0403030202060203" pitchFamily="34" charset="0"/>
                <a:buChar char="—"/>
                <a:defRPr lang="en-US" sz="100" kern="1200" smtClean="0">
                  <a:noFill/>
                  <a:latin typeface="+mn-lt"/>
                  <a:ea typeface="+mn-ea"/>
                  <a:cs typeface="+mn-cs"/>
                </a:defRPr>
              </a:lvl2pPr>
              <a:lvl3pPr marL="641350" indent="-319088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Graphik Light" panose="020B0403030202060203" pitchFamily="34" charset="0"/>
                <a:buChar char="—"/>
                <a:tabLst/>
                <a:defRPr lang="en-US" sz="100" kern="1200" smtClean="0">
                  <a:noFill/>
                  <a:latin typeface="+mn-lt"/>
                  <a:ea typeface="+mn-ea"/>
                  <a:cs typeface="+mn-cs"/>
                </a:defRPr>
              </a:lvl3pPr>
              <a:lvl4pPr marL="962025" indent="-319088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Graphik Light" panose="020B0403030202060203" pitchFamily="34" charset="0"/>
                <a:buChar char="—"/>
                <a:tabLst/>
                <a:defRPr lang="en-US" sz="100" kern="1200" smtClean="0">
                  <a:noFill/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lang="en-US" sz="100" kern="1200">
                  <a:noFill/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>
                  <a:latin typeface="HPE Graphik Light" pitchFamily="50" charset="0"/>
                </a:rPr>
                <a:t>Click to edit Master text styles</a:t>
              </a:r>
            </a:p>
            <a:p>
              <a:pPr lvl="1"/>
              <a:r>
                <a:rPr lang="en-US">
                  <a:latin typeface="HPE Graphik Light" pitchFamily="50" charset="0"/>
                </a:rPr>
                <a:t>Second level</a:t>
              </a:r>
            </a:p>
            <a:p>
              <a:pPr lvl="2"/>
              <a:r>
                <a:rPr lang="en-US">
                  <a:latin typeface="HPE Graphik Light" pitchFamily="50" charset="0"/>
                </a:rPr>
                <a:t>Third level</a:t>
              </a:r>
            </a:p>
            <a:p>
              <a:pPr lvl="3"/>
              <a:r>
                <a:rPr lang="en-US">
                  <a:latin typeface="HPE Graphik Light" pitchFamily="50" charset="0"/>
                </a:rPr>
                <a:t>Fourth level</a:t>
              </a:r>
            </a:p>
            <a:p>
              <a:pPr lvl="4"/>
              <a:r>
                <a:rPr lang="en-US">
                  <a:latin typeface="HPE Graphik Light" pitchFamily="50" charset="0"/>
                </a:rPr>
                <a:t>Fifth level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299945" cy="1577109"/>
          </a:xfrm>
        </p:spPr>
        <p:txBody>
          <a:bodyPr anchor="t"/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over slide, graphic only, </a:t>
            </a:r>
            <a:br>
              <a:rPr lang="en-US"/>
            </a:br>
            <a:r>
              <a:rPr lang="en-US"/>
              <a:t>white type, HPE </a:t>
            </a:r>
            <a:r>
              <a:rPr lang="en-US" err="1"/>
              <a:t>Graphik</a:t>
            </a:r>
            <a:r>
              <a:rPr lang="en-US"/>
              <a:t> Semibol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FDA429-395A-CEEA-1925-D4B82A3007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8100" y="6429247"/>
            <a:ext cx="340782" cy="1905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FA8A54-A26F-B0C0-1A73-53A9A812CC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rgbClr val="F7F7F7"/>
                </a:solidFill>
                <a:latin typeface="HPE Graphik Light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Internal Use Only – Confidential | Authorized 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DD3FAA2F-6C80-558D-CFAA-33E7BBA92E0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9284EB71-D9A0-60BA-33DF-DE5F23F97CD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pic>
        <p:nvPicPr>
          <p:cNvPr id="14" name="Picture 11">
            <a:extLst>
              <a:ext uri="{FF2B5EF4-FFF2-40B4-BE49-F238E27FC236}">
                <a16:creationId xmlns:a16="http://schemas.microsoft.com/office/drawing/2014/main" id="{5CD59E97-9AF3-2BCA-07ED-285BCF43CA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9823"/>
          <a:stretch>
            <a:fillRect/>
          </a:stretch>
        </p:blipFill>
        <p:spPr>
          <a:xfrm>
            <a:off x="374905" y="381237"/>
            <a:ext cx="1081756" cy="310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688922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5" orient="horz" pos="2160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287B217-2E30-4712-99AE-652EEDB044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4EA22A1-FE1F-4F4A-9C07-F0E86D67E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</a:t>
            </a:r>
          </a:p>
        </p:txBody>
      </p:sp>
    </p:spTree>
    <p:extLst>
      <p:ext uri="{BB962C8B-B14F-4D97-AF65-F5344CB8AC3E}">
        <p14:creationId xmlns:p14="http://schemas.microsoft.com/office/powerpoint/2010/main" val="4199932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 | AUTHORIZED</a:t>
            </a: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998681"/>
            <a:ext cx="11404800" cy="5097600"/>
          </a:xfrm>
        </p:spPr>
        <p:txBody>
          <a:bodyPr lIns="0" rIns="0"/>
          <a:lstStyle>
            <a:lvl5pPr>
              <a:defRPr>
                <a:latin typeface="HPE Graphik Light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9212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87376D2-6A59-4BA9-8EA0-2ACD180817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3" name="Logo">
            <a:extLst>
              <a:ext uri="{FF2B5EF4-FFF2-40B4-BE49-F238E27FC236}">
                <a16:creationId xmlns:a16="http://schemas.microsoft.com/office/drawing/2014/main" id="{C7CA71CE-C053-471F-9DCA-CD481E01A6E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4" name="Element">
              <a:extLst>
                <a:ext uri="{FF2B5EF4-FFF2-40B4-BE49-F238E27FC236}">
                  <a16:creationId xmlns:a16="http://schemas.microsoft.com/office/drawing/2014/main" id="{E3099459-FF93-42DF-AF0B-9F971EEC02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20" name="Wordmark">
              <a:extLst>
                <a:ext uri="{FF2B5EF4-FFF2-40B4-BE49-F238E27FC236}">
                  <a16:creationId xmlns:a16="http://schemas.microsoft.com/office/drawing/2014/main" id="{75AF4DC2-08D7-4947-BE56-AB4767049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20040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8439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8439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28439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DD0DBAFB-7047-4B08-B7ED-CB050B7FBB50}"/>
              </a:ext>
            </a:extLst>
          </p:cNvPr>
          <p:cNvSpPr>
            <a:spLocks noGrp="1"/>
          </p:cNvSpPr>
          <p:nvPr userDrawn="1"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A3C61050-E60B-4FC2-8361-B75DC38392A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3" name="Element"/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14" name="Wordmark"/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4267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4D7C280C-8E1E-4531-A635-C99FE1BDEE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6" name="Logo">
            <a:extLst>
              <a:ext uri="{FF2B5EF4-FFF2-40B4-BE49-F238E27FC236}">
                <a16:creationId xmlns:a16="http://schemas.microsoft.com/office/drawing/2014/main" id="{39DC9A4F-A16F-45B4-A72C-8DB544981AE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20" name="Element">
              <a:extLst>
                <a:ext uri="{FF2B5EF4-FFF2-40B4-BE49-F238E27FC236}">
                  <a16:creationId xmlns:a16="http://schemas.microsoft.com/office/drawing/2014/main" id="{25C81DB6-CCD4-4F17-86A3-D56DF640F5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21" name="Wordmark">
              <a:extLst>
                <a:ext uri="{FF2B5EF4-FFF2-40B4-BE49-F238E27FC236}">
                  <a16:creationId xmlns:a16="http://schemas.microsoft.com/office/drawing/2014/main" id="{7CF9A093-3688-4D04-9331-C6E54828F9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28534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r">
            <a:extLst>
              <a:ext uri="{FF2B5EF4-FFF2-40B4-BE49-F238E27FC236}">
                <a16:creationId xmlns:a16="http://schemas.microsoft.com/office/drawing/2014/main" id="{59513FE3-337B-42EA-8F5D-B1D6CDD0F4A0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E8F2DF7-9AD5-47AF-92C4-F9011D8150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63A2EDB-3F77-406C-9116-E786D4D6A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65687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5837C125-1DBF-4F22-925B-D8481E8BC2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bIns="90000" anchor="ctr"/>
          <a:lstStyle>
            <a:lvl1pPr marL="0" indent="0" algn="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D8D4E77-E0A3-4D09-ACAE-F1308CF36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09E328-E168-4AEC-AD9B-18A4ACAAA4F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456EB42-66C6-4FC9-8A72-F78974DE84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684489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Edge to Edge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rIns="90000" bIns="360000" anchor="b"/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1414463" y="685801"/>
            <a:ext cx="9363075" cy="5480050"/>
          </a:xfrm>
        </p:spPr>
        <p:txBody>
          <a:bodyPr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</p:spTree>
    <p:extLst>
      <p:ext uri="{BB962C8B-B14F-4D97-AF65-F5344CB8AC3E}">
        <p14:creationId xmlns:p14="http://schemas.microsoft.com/office/powerpoint/2010/main" val="706189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4C7E62B9-7B57-1325-41F8-B563932F32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D4869DF-7C8C-6D6D-CBDF-4F57DD5DFF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2FBDD54F-6F02-5565-BE03-576E378CDA1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C9B879B3-45C8-291E-B795-79029A3CF9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199A56CF-9478-6AE1-8265-95E8C72FD0E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A8CED90-83F5-DFF6-245A-6CD299701B8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61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888133"/>
            <a:ext cx="5523992" cy="4383126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888132"/>
            <a:ext cx="5523992" cy="4383127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33978" cy="369486"/>
          </a:xfrm>
          <a:prstGeom prst="rect">
            <a:avLst/>
          </a:prstGeom>
        </p:spPr>
        <p:txBody>
          <a:bodyPr vert="horz" lIns="0" tIns="0" rIns="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918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504950"/>
            <a:ext cx="12192000" cy="3295651"/>
          </a:xfrm>
          <a:solidFill>
            <a:schemeClr val="tx1"/>
          </a:solidFill>
        </p:spPr>
        <p:txBody>
          <a:bodyPr rIns="1828800" bIns="90000" anchor="ctr"/>
          <a:lstStyle>
            <a:lvl1pPr marL="0" indent="0" algn="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4"/>
          </p:nvPr>
        </p:nvSpPr>
        <p:spPr>
          <a:xfrm>
            <a:off x="292100" y="3258636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C8CDE3DB-5BD1-43F6-94A6-D47A00235D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EEEF92A3-A948-430A-BA72-93EBB9877D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258125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6" name="Title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B699D1C6-DBB0-43D0-BC06-19A6E62C19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CAA7B61-F2C7-43C9-A11F-B48C4ED2EB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721696" y="6129337"/>
            <a:ext cx="7481160" cy="411581"/>
          </a:xfrm>
        </p:spPr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054674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">
            <a:extLst>
              <a:ext uri="{FF2B5EF4-FFF2-40B4-BE49-F238E27FC236}">
                <a16:creationId xmlns:a16="http://schemas.microsoft.com/office/drawing/2014/main" id="{B6844C8B-60DD-4EDB-AF8B-41A6695EFC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0B94C82C-D24B-4532-B992-AD884CD16A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B49B78C-62D9-4CBC-82AE-117CC49AA73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170141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Blu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71441D17-F569-4929-BED2-B3C594D2EB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9926132-14B5-462D-8011-DBD07D3A4F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698795D-6546-4F01-AD74-FF78AF2E67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747488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EE3E2CEF-B9DC-4BC7-912D-0AF3140E0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452CF67-7C64-4A36-818E-9739F15599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E686EF5-477F-4DCE-824F-3C05B5AA65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cap="none" baseline="0"/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83901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+mn-lt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6E5649-B5F3-4893-ACEE-FDDDEA277D6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C9133F1-6679-476E-AEFD-931027BED0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191503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998681"/>
            <a:ext cx="11404800" cy="50976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0940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1000" y="1344281"/>
            <a:ext cx="11403014" cy="47520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02268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427027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81000" y="1733015"/>
            <a:ext cx="11403014" cy="43668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6" y="1350296"/>
            <a:ext cx="1149591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5918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2" y="391852"/>
            <a:ext cx="11498271" cy="401362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27747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71CBF7C-DC48-4FC0-9D75-AE2A7B709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30D71586-CC8D-433E-9833-9A7FDB8D82E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C5C9A9-E236-4C76-AAB8-D575E2980D3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53406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74903" y="1129022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260021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60399" y="1129022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rgbClr val="292D3A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21F8B9-A226-C863-E39B-92687650DAA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2C88C5-7051-4300-5EDA-B8F76B6C396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010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1000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08FD370-F534-4533-9D1C-D71C0301D4F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B9DB588-CD3A-4605-99DD-5D58A0334468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045645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4003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56308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60400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3464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8095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12F31EAB-796D-4E98-AD02-5E448046BB3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9B4ABF0-738F-478F-B9E7-E5D3DF83666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927844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5DFA194-46E5-48DD-9DF0-CE09ECBDE59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EED058A-E779-4D88-ADD2-9B84C2A1050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733038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365166"/>
            <a:ext cx="3628710" cy="473439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64F2FF0-0CF5-4CC1-8878-96534C54D9A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749AAC13-0724-4F89-9282-2A985E0669E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8599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46122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65611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B8A07BF-CB97-4E22-9C06-99A9D26C819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7833D610-4CA4-41A3-B735-6F0642F9854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236158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F0756C0-7641-4173-A68F-865597D4BB0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221C879-23BF-48A0-9B6C-5B66C341975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155675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287B217-2E30-4712-99AE-652EEDB044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4EA22A1-FE1F-4F4A-9C07-F0E86D67E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54549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8B57979-9B2D-4984-B19E-0EFD2E111CE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A02681C-9BC6-4D8A-BB6B-D65D1A03959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044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r">
            <a:extLst>
              <a:ext uri="{FF2B5EF4-FFF2-40B4-BE49-F238E27FC236}">
                <a16:creationId xmlns:a16="http://schemas.microsoft.com/office/drawing/2014/main" id="{8EF5646D-2EB2-41E1-98F7-8AFF5323E04E}"/>
              </a:ext>
            </a:extLst>
          </p:cNvPr>
          <p:cNvSpPr/>
          <p:nvPr userDrawn="1"/>
        </p:nvSpPr>
        <p:spPr>
          <a:xfrm>
            <a:off x="385100" y="124748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EBA2B6B1-8B85-4F7A-B1B8-3C2A2CA72C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6172FFC-9966-4FB3-B3D2-FBE84B0190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190739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888133"/>
            <a:ext cx="5523992" cy="4390746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0021" y="1473135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888132"/>
            <a:ext cx="5523992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1473135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02BBC2-BD44-DEAF-58E4-737CC53BBBD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DD5D5E-5ECA-A659-E4D1-059428798A6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0263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1178166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>
            <a:extLst>
              <a:ext uri="{FF2B5EF4-FFF2-40B4-BE49-F238E27FC236}">
                <a16:creationId xmlns:a16="http://schemas.microsoft.com/office/drawing/2014/main" id="{371489F8-FD72-440E-84EC-51D4A768BB5E}"/>
              </a:ext>
            </a:extLst>
          </p:cNvPr>
          <p:cNvSpPr/>
          <p:nvPr userDrawn="1"/>
        </p:nvSpPr>
        <p:spPr>
          <a:xfrm>
            <a:off x="385100" y="1663329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903090B-018E-41F6-821A-0DB185B1678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EE71AD2-3B17-4BBC-A780-3AEAE01E747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495096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2818CA98-330E-4FE7-B6FF-632E311233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F90604F-7FA1-41D8-9914-866F3305034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725164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92DC03DA-1907-4E05-9BC8-1056217131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B2C94F6-2456-49E7-A85E-744A4B16A8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794855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0" name="Text Placeholder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>
                <a:latin typeface="+mn-lt"/>
              </a:defRPr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add</a:t>
            </a:r>
            <a:br>
              <a:rPr lang="en-US"/>
            </a:br>
            <a:r>
              <a:rPr lang="en-US"/>
              <a:t>two-line subtitl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2D12F7D-5A80-4CB3-A519-0EC3099CAB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77D698-96B1-4B1C-AC10-E28AA67073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783241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37736B1-D7A7-4407-BE85-C3B77D9DE3F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C2633DB1-4E58-49AF-9CC5-F4480459AE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801599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cture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685C0DB9-A0DF-42B9-B705-83944EECB3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8085FE46-B145-48DA-84CC-BEC7ABB0F6C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62B249EC-9477-452C-91FB-A412BD37EF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481623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269A3E8D-DCFB-4D37-86BB-56632B0912B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5100" y="995363"/>
            <a:ext cx="7844500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1E92FAC-B699-43F5-B87D-2D8B714080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38747A7-25DE-48D8-8D31-0F3DF66ADF9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657742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13651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285743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4313365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263428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515445" y="999540"/>
            <a:ext cx="3257847" cy="51005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B8E13A3-BC15-450D-96D1-EB785D605B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91AA25E-ECBD-44CD-9DE9-F058616E771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281436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7EAFD6-415C-88F0-6EE5-4D5D4B8A954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81A8C7-DBC3-6CA7-393A-B76EB01BD15A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728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72895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11EEBA4-9351-4C42-9CB1-BC966ADFAF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2725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6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33220B8-73BB-42A1-AE6B-0898C72176B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278F3E4F-3B9E-412C-A6C9-621D3C25AA9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997432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05705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3900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536572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994740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Bar 3">
            <a:extLst>
              <a:ext uri="{FF2B5EF4-FFF2-40B4-BE49-F238E27FC236}">
                <a16:creationId xmlns:a16="http://schemas.microsoft.com/office/drawing/2014/main" id="{42FA215D-0B81-4E67-9714-4DF602504A3A}"/>
              </a:ext>
            </a:extLst>
          </p:cNvPr>
          <p:cNvSpPr/>
          <p:nvPr userDrawn="1"/>
        </p:nvSpPr>
        <p:spPr>
          <a:xfrm>
            <a:off x="8097009" y="4258726"/>
            <a:ext cx="3679200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4239004" y="4258726"/>
            <a:ext cx="36792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36735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36792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953139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1" y="4310712"/>
            <a:ext cx="5688012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6222013" y="4258726"/>
            <a:ext cx="55620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5661163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55620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64625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61581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Single Lin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ctr">
              <a:lnSpc>
                <a:spcPct val="75000"/>
              </a:lnSpc>
              <a:defRPr sz="17000">
                <a:blipFill dpi="0" rotWithShape="1">
                  <a:blip r:embed="rId2"/>
                  <a:srcRect/>
                  <a:stretch>
                    <a:fillRect/>
                  </a:stretch>
                </a:blipFill>
              </a:defRPr>
            </a:lvl1pPr>
          </a:lstStyle>
          <a:p>
            <a:r>
              <a:rPr lang="en-US"/>
              <a:t>Single line</a:t>
            </a:r>
          </a:p>
        </p:txBody>
      </p:sp>
    </p:spTree>
    <p:extLst>
      <p:ext uri="{BB962C8B-B14F-4D97-AF65-F5344CB8AC3E}">
        <p14:creationId xmlns:p14="http://schemas.microsoft.com/office/powerpoint/2010/main" val="7048941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Multiple Lin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l">
              <a:lnSpc>
                <a:spcPct val="65000"/>
              </a:lnSpc>
              <a:defRPr sz="12500">
                <a:blipFill dpi="0" rotWithShape="1">
                  <a:blip r:embed="rId2"/>
                  <a:srcRect/>
                  <a:stretch>
                    <a:fillRect/>
                  </a:stretch>
                </a:blipFill>
              </a:defRPr>
            </a:lvl1pPr>
          </a:lstStyle>
          <a:p>
            <a:r>
              <a:rPr lang="en-US"/>
              <a:t>Multiple </a:t>
            </a:r>
            <a:br>
              <a:rPr lang="en-US"/>
            </a:br>
            <a:r>
              <a:rPr lang="en-US"/>
              <a:t>lines </a:t>
            </a:r>
          </a:p>
        </p:txBody>
      </p:sp>
    </p:spTree>
    <p:extLst>
      <p:ext uri="{BB962C8B-B14F-4D97-AF65-F5344CB8AC3E}">
        <p14:creationId xmlns:p14="http://schemas.microsoft.com/office/powerpoint/2010/main" val="34162153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7194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202D382-F177-4EDD-9E63-D410F58B20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5D5BB30E-8FED-4853-AD8A-7BB93B3FF1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788068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20551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62127D76-909D-4C18-BB52-4DDB379ACAE3}"/>
              </a:ext>
            </a:extLst>
          </p:cNvPr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3" name="Footer Placeholder">
            <a:extLst>
              <a:ext uri="{FF2B5EF4-FFF2-40B4-BE49-F238E27FC236}">
                <a16:creationId xmlns:a16="http://schemas.microsoft.com/office/drawing/2014/main" id="{B08835D9-51EC-4CAD-A07F-93C2FF4161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4720" y="5923546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/>
          <p:nvPr userDrawn="1"/>
        </p:nvSpPr>
        <p:spPr>
          <a:xfrm>
            <a:off x="8115300" y="6335127"/>
            <a:ext cx="3740580" cy="2769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algn="r"/>
            <a:r>
              <a:rPr lang="en-US" sz="120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1200" smtClean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120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63608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 anchorCtr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1CB3F7-BD80-2E75-509D-9F8010556A9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99F5B5-25C5-2F5D-8947-057651169F8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E933D73-FF2E-5038-2928-57B052E6DEC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5CFBF7C-9A9D-283B-3040-62F4E8BBA2B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0B5786B1-1D78-07AE-99E2-9ACA6A302D5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7079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385100" y="2085631"/>
            <a:ext cx="8657275" cy="369332"/>
            <a:chOff x="1797664" y="2085631"/>
            <a:chExt cx="8657274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385100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853239" y="3148295"/>
            <a:ext cx="8189135" cy="369332"/>
            <a:chOff x="2265804" y="3155687"/>
            <a:chExt cx="8189134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853240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sp>
        <p:nvSpPr>
          <p:cNvPr id="2" name="Title">
            <a:extLst>
              <a:ext uri="{FF2B5EF4-FFF2-40B4-BE49-F238E27FC236}">
                <a16:creationId xmlns:a16="http://schemas.microsoft.com/office/drawing/2014/main" id="{AD3FC5EF-E69D-4618-8443-A903DF0604E7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8" name="Bar">
            <a:extLst>
              <a:ext uri="{FF2B5EF4-FFF2-40B4-BE49-F238E27FC236}">
                <a16:creationId xmlns:a16="http://schemas.microsoft.com/office/drawing/2014/main" id="{138C5D1F-7025-4361-82C0-442529977361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533519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48651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 bwMode="ltGray"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800" b="1" i="0" baseline="0">
              <a:latin typeface="MetricHPE" panose="020B0503030202060203" pitchFamily="34" charset="0"/>
              <a:ea typeface="+mj-ea"/>
              <a:cs typeface="+mj-cs"/>
              <a:sym typeface="MetricHPE" panose="020B0503030202060203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j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11422062" cy="5077790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263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7657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 bwMode="ltGray"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800" b="1" i="0" baseline="0">
              <a:latin typeface="MetricHPE" panose="020B0503030202060203" pitchFamily="34" charset="0"/>
              <a:ea typeface="+mj-ea"/>
              <a:cs typeface="+mj-cs"/>
              <a:sym typeface="MetricHPE" panose="020B0503030202060203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j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11422062" cy="5077790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263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1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F33158-1754-653B-F011-1E6EDDA861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E9BAFD-B89D-1DD6-6FAB-B033012DF6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2105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>
            <a:extLst>
              <a:ext uri="{FF2B5EF4-FFF2-40B4-BE49-F238E27FC236}">
                <a16:creationId xmlns:a16="http://schemas.microsoft.com/office/drawing/2014/main" id="{6702D808-AF03-DEF9-0314-E4335A543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1</a:t>
            </a:r>
            <a:endParaRPr lang="en-US"/>
          </a:p>
        </p:txBody>
      </p:sp>
      <p:sp>
        <p:nvSpPr>
          <p:cNvPr id="6" name="Subtitle 3">
            <a:extLst>
              <a:ext uri="{FF2B5EF4-FFF2-40B4-BE49-F238E27FC236}">
                <a16:creationId xmlns:a16="http://schemas.microsoft.com/office/drawing/2014/main" id="{DEE9B376-05EC-3588-37E2-05C039D1F60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0061C036-93AE-3BAB-6526-8E33EA44445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DBE2E1BB-CE0A-BA4E-62F3-C11C72B14B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E4EC4B5E-61C1-0327-AC26-FD6B85B7F0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Logo 1">
            <a:extLst>
              <a:ext uri="{FF2B5EF4-FFF2-40B4-BE49-F238E27FC236}">
                <a16:creationId xmlns:a16="http://schemas.microsoft.com/office/drawing/2014/main" id="{3C7E22E5-C03B-2CCA-4E3D-EFB9B103A95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513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ogo 1">
            <a:extLst>
              <a:ext uri="{FF2B5EF4-FFF2-40B4-BE49-F238E27FC236}">
                <a16:creationId xmlns:a16="http://schemas.microsoft.com/office/drawing/2014/main" id="{2FBDD54F-6F02-5565-BE03-576E378CDA1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  <p:sp>
        <p:nvSpPr>
          <p:cNvPr id="9" name="Title 2">
            <a:extLst>
              <a:ext uri="{FF2B5EF4-FFF2-40B4-BE49-F238E27FC236}">
                <a16:creationId xmlns:a16="http://schemas.microsoft.com/office/drawing/2014/main" id="{9A8CED90-83F5-DFF6-245A-6CD299701B8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2</a:t>
            </a:r>
            <a:endParaRPr lang="en-US"/>
          </a:p>
        </p:txBody>
      </p:sp>
      <p:sp>
        <p:nvSpPr>
          <p:cNvPr id="7" name="Subtitle 3">
            <a:extLst>
              <a:ext uri="{FF2B5EF4-FFF2-40B4-BE49-F238E27FC236}">
                <a16:creationId xmlns:a16="http://schemas.microsoft.com/office/drawing/2014/main" id="{C9B879B3-45C8-291E-B795-79029A3CF9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99A56CF-9478-6AE1-8265-95E8C72FD0E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4C7E62B9-7B57-1325-41F8-B563932F32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8D4869DF-7C8C-6D6D-CBDF-4F57DD5DFF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244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C22247A9-BAB1-E44F-778D-D7B252E6247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3</a:t>
            </a:r>
            <a:endParaRPr lang="en-US"/>
          </a:p>
        </p:txBody>
      </p:sp>
      <p:sp>
        <p:nvSpPr>
          <p:cNvPr id="7" name="Subtitle 3">
            <a:extLst>
              <a:ext uri="{FF2B5EF4-FFF2-40B4-BE49-F238E27FC236}">
                <a16:creationId xmlns:a16="http://schemas.microsoft.com/office/drawing/2014/main" id="{9CAA1BA3-D079-6DA7-65CB-51062A7D93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CFFEB8AD-256D-84E9-5A93-EB95B92E4B9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3" name="Footer Placeholder 5">
            <a:extLst>
              <a:ext uri="{FF2B5EF4-FFF2-40B4-BE49-F238E27FC236}">
                <a16:creationId xmlns:a16="http://schemas.microsoft.com/office/drawing/2014/main" id="{28D69DFE-88C2-F477-D6FA-5A27957CC5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E86E6D92-7C0F-2881-3B5C-2BB90CF3E4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Logo 1">
            <a:extLst>
              <a:ext uri="{FF2B5EF4-FFF2-40B4-BE49-F238E27FC236}">
                <a16:creationId xmlns:a16="http://schemas.microsoft.com/office/drawing/2014/main" id="{4111ED6B-3C57-9282-107F-83D63C6C1A1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692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 with Light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Element 2">
            <a:extLst>
              <a:ext uri="{FF2B5EF4-FFF2-40B4-BE49-F238E27FC236}">
                <a16:creationId xmlns:a16="http://schemas.microsoft.com/office/drawing/2014/main" id="{599C7368-45FB-FA9F-C233-DCDE9E9A3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518948"/>
            <a:ext cx="10934113" cy="5339064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3791"/>
            <a:ext cx="9144000" cy="1577109"/>
          </a:xfrm>
        </p:spPr>
        <p:txBody>
          <a:bodyPr lIns="0" tIns="46990" rIns="0" bIns="4699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4 (with </a:t>
            </a:r>
            <a:r>
              <a:rPr lang="pl-PL"/>
              <a:t>light </a:t>
            </a:r>
            <a:r>
              <a:rPr lang="en-US"/>
              <a:t>picture)</a:t>
            </a:r>
          </a:p>
        </p:txBody>
      </p:sp>
      <p:sp>
        <p:nvSpPr>
          <p:cNvPr id="7" name="Subtitle 4">
            <a:extLst>
              <a:ext uri="{FF2B5EF4-FFF2-40B4-BE49-F238E27FC236}">
                <a16:creationId xmlns:a16="http://schemas.microsoft.com/office/drawing/2014/main" id="{6D5F3A39-BBD4-AFEB-B4E7-8CA166BB30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EC55DFAC-A001-72E6-262A-D060D79E0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F1B627C3-C1BB-9558-7C73-E25CB3B6E8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BA235C-CFDA-EC42-8041-30F0839937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Logo 1">
            <a:extLst>
              <a:ext uri="{FF2B5EF4-FFF2-40B4-BE49-F238E27FC236}">
                <a16:creationId xmlns:a16="http://schemas.microsoft.com/office/drawing/2014/main" id="{E5261410-F79F-DD2A-279D-B1AA1CDB174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815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36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 with Dark Picture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 1">
            <a:extLst>
              <a:ext uri="{FF2B5EF4-FFF2-40B4-BE49-F238E27FC236}">
                <a16:creationId xmlns:a16="http://schemas.microsoft.com/office/drawing/2014/main" id="{5AD027A1-F5B6-22EB-1410-56C7B52891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4907" y="388783"/>
            <a:ext cx="1019648" cy="291328"/>
          </a:xfrm>
          <a:prstGeom prst="rect">
            <a:avLst/>
          </a:prstGeom>
        </p:spPr>
      </p:pic>
      <p:pic>
        <p:nvPicPr>
          <p:cNvPr id="13" name="Picture Element 2">
            <a:extLst>
              <a:ext uri="{FF2B5EF4-FFF2-40B4-BE49-F238E27FC236}">
                <a16:creationId xmlns:a16="http://schemas.microsoft.com/office/drawing/2014/main" id="{599C7368-45FB-FA9F-C233-DCDE9E9A375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0" y="1518948"/>
            <a:ext cx="10934113" cy="5339064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3791"/>
            <a:ext cx="9144000" cy="1577109"/>
          </a:xfrm>
        </p:spPr>
        <p:txBody>
          <a:bodyPr lIns="0" tIns="46990" rIns="0" bIns="4699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over 4 (with dark picture)</a:t>
            </a:r>
          </a:p>
        </p:txBody>
      </p:sp>
      <p:sp>
        <p:nvSpPr>
          <p:cNvPr id="7" name="Subtitle 4">
            <a:extLst>
              <a:ext uri="{FF2B5EF4-FFF2-40B4-BE49-F238E27FC236}">
                <a16:creationId xmlns:a16="http://schemas.microsoft.com/office/drawing/2014/main" id="{6D5F3A39-BBD4-AFEB-B4E7-8CA166BB30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EC55DFAC-A001-72E6-262A-D060D79E0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F1B627C3-C1BB-9558-7C73-E25CB3B6E8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BA235C-CFDA-EC42-8041-30F0839937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150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36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5285DB-111F-371C-CCBA-1DD3F3E0D33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8A4F95-E980-ECB5-112F-5B4A2D0D7706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0214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5 with Pictur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38" y="1178790"/>
            <a:ext cx="9144000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5 (with picture)</a:t>
            </a:r>
          </a:p>
        </p:txBody>
      </p:sp>
      <p:sp>
        <p:nvSpPr>
          <p:cNvPr id="5" name="Subtitle 3">
            <a:extLst>
              <a:ext uri="{FF2B5EF4-FFF2-40B4-BE49-F238E27FC236}">
                <a16:creationId xmlns:a16="http://schemas.microsoft.com/office/drawing/2014/main" id="{A1730018-7DE4-8985-2868-18B01444A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55099" y="2887955"/>
            <a:ext cx="2485505" cy="10268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 maximum three lin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0BD8F41-4872-8861-CBF3-EDAA068B0DC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55098" y="3924300"/>
            <a:ext cx="2485506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3BD4F32D-3591-565F-ADF6-7D7D28EF243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2974206"/>
            <a:ext cx="9206753" cy="388379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Image placeholder</a:t>
            </a:r>
          </a:p>
        </p:txBody>
      </p:sp>
      <p:sp>
        <p:nvSpPr>
          <p:cNvPr id="3" name="Footer Placeholder 6">
            <a:extLst>
              <a:ext uri="{FF2B5EF4-FFF2-40B4-BE49-F238E27FC236}">
                <a16:creationId xmlns:a16="http://schemas.microsoft.com/office/drawing/2014/main" id="{585DF01E-4205-00B8-31D5-62F133D646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55097" y="6155690"/>
            <a:ext cx="1834441" cy="450628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7" name="Slide Number Placeholder 7">
            <a:extLst>
              <a:ext uri="{FF2B5EF4-FFF2-40B4-BE49-F238E27FC236}">
                <a16:creationId xmlns:a16="http://schemas.microsoft.com/office/drawing/2014/main" id="{3A8DF9B4-8078-C49B-C422-13DD4F863D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Logo 1">
            <a:extLst>
              <a:ext uri="{FF2B5EF4-FFF2-40B4-BE49-F238E27FC236}">
                <a16:creationId xmlns:a16="http://schemas.microsoft.com/office/drawing/2014/main" id="{7F270277-25AA-AF38-3D99-BB5D722E160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79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6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Element image 1" descr="A black and white rectangle with a green and black rectangle&#10;&#10;AI-generated content may be incorrect.">
            <a:extLst>
              <a:ext uri="{FF2B5EF4-FFF2-40B4-BE49-F238E27FC236}">
                <a16:creationId xmlns:a16="http://schemas.microsoft.com/office/drawing/2014/main" id="{557B342C-B686-916C-8D1E-533F53E2C2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68" y="0"/>
            <a:ext cx="12187263" cy="6858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912" y="1127322"/>
            <a:ext cx="4465637" cy="2951480"/>
          </a:xfrm>
        </p:spPr>
        <p:txBody>
          <a:bodyPr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6 </a:t>
            </a:r>
            <a:br>
              <a:rPr lang="en-US"/>
            </a:br>
            <a:r>
              <a:rPr lang="en-US"/>
              <a:t>(with picture)</a:t>
            </a:r>
          </a:p>
        </p:txBody>
      </p:sp>
      <p:sp>
        <p:nvSpPr>
          <p:cNvPr id="22" name="Subtitle 4">
            <a:extLst>
              <a:ext uri="{FF2B5EF4-FFF2-40B4-BE49-F238E27FC236}">
                <a16:creationId xmlns:a16="http://schemas.microsoft.com/office/drawing/2014/main" id="{B4B6A315-F84A-43CB-2612-0093AD26A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650" y="4101316"/>
            <a:ext cx="4465638" cy="680234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br>
              <a:rPr lang="en-US"/>
            </a:br>
            <a:r>
              <a:rPr lang="en-US"/>
              <a:t>over 2 lines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1E6999B2-BD34-3D8A-995A-23314865E5B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7" y="4838706"/>
            <a:ext cx="4465637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20" name="Footer Placeholder 6">
            <a:extLst>
              <a:ext uri="{FF2B5EF4-FFF2-40B4-BE49-F238E27FC236}">
                <a16:creationId xmlns:a16="http://schemas.microsoft.com/office/drawing/2014/main" id="{90E4737B-80BB-A453-9EC0-40344848478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21" name="Slide Number Placeholder 7">
            <a:extLst>
              <a:ext uri="{FF2B5EF4-FFF2-40B4-BE49-F238E27FC236}">
                <a16:creationId xmlns:a16="http://schemas.microsoft.com/office/drawing/2014/main" id="{A6F5877F-D5C2-0CC0-F815-A40F949BFE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Logo 1">
            <a:extLst>
              <a:ext uri="{FF2B5EF4-FFF2-40B4-BE49-F238E27FC236}">
                <a16:creationId xmlns:a16="http://schemas.microsoft.com/office/drawing/2014/main" id="{D5B7DC08-45F1-7AED-7412-10AE0482C44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5212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1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7F33158-1754-653B-F011-1E6EDDA861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07E9BAFD-B89D-1DD6-6FAB-B033012DF6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718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2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86C1509-153F-BD27-73E3-F87006A3EC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318031-32A0-57F5-89E3-BD97D3EE47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87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3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23C35D8-793D-910E-958E-12734E9433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AB0ABB62-7FB2-A10A-FB79-640977444A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189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lement Image 1">
            <a:extLst>
              <a:ext uri="{FF2B5EF4-FFF2-40B4-BE49-F238E27FC236}">
                <a16:creationId xmlns:a16="http://schemas.microsoft.com/office/drawing/2014/main" id="{1A711596-B981-E895-2147-80AF02FC6F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96" t="654" r="1416" b="120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2">
            <a:extLst>
              <a:ext uri="{FF2B5EF4-FFF2-40B4-BE49-F238E27FC236}">
                <a16:creationId xmlns:a16="http://schemas.microsoft.com/office/drawing/2014/main" id="{951F0D95-92C8-F614-A840-CCF636DDBE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5" y="393193"/>
            <a:ext cx="11433977" cy="946080"/>
          </a:xfrm>
        </p:spPr>
        <p:txBody>
          <a:bodyPr lIns="0" tIns="0" rIns="91440" bIns="0"/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6000" b="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r>
              <a:rPr lang="en-US"/>
              <a:t>Divider 4 (with picture)</a:t>
            </a:r>
          </a:p>
        </p:txBody>
      </p:sp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6D7B23CD-0964-2C4F-2645-F616DF81D0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1C3AD242-1EDC-575F-5C91-FD24DABDDF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611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1165860"/>
            <a:ext cx="11404800" cy="5097600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96B6C3F6-7864-1614-6433-B6E9205341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AAA371ED-2734-3586-C69F-E31DDE6FB9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7077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541417"/>
            <a:ext cx="11433977" cy="4730795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5D62CB2E-81D7-48A5-A15B-340BF48D21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B4268E2A-81AF-75F2-036F-19A286FA83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4308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74904" y="1541417"/>
            <a:ext cx="11433977" cy="4730795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013726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28B93E-9AAB-D047-1D10-C52AC4536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bIns="0" anchor="t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C95F41DF-93F3-CDC9-2F09-5645DCF4B1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33978" cy="369486"/>
          </a:xfrm>
          <a:prstGeom prst="rect">
            <a:avLst/>
          </a:prstGeom>
        </p:spPr>
        <p:txBody>
          <a:bodyPr t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8B383B-1E87-87BA-8652-6B7B1E2F64D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4904" y="1920874"/>
            <a:ext cx="11433977" cy="4358006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88B1FDE8-1311-7248-18A8-D4800084C25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8A4E9F6-3410-0A4E-80C1-A550B6D95A6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7188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6" cy="369486"/>
          </a:xfrm>
          <a:prstGeom prst="rect">
            <a:avLst/>
          </a:prstGeom>
        </p:spPr>
        <p:txBody>
          <a:bodyPr tIns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6B5E63-2A42-E758-4078-93602512C48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BBC2BF-0D27-EE97-15E2-3172489A9EF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E1F0C114-EFF4-4AC2-300D-DD8958809D0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896841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B155FBF-4BEC-C1E1-CB2C-2ED0CF71CC1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15D01BB8-727D-8CA2-AA4D-A23CC782B59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11733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lIns="0" tIns="0" rIns="91440" bIns="4572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19" name="Heading 3"/>
          <p:cNvSpPr>
            <a:spLocks noGrp="1"/>
          </p:cNvSpPr>
          <p:nvPr>
            <p:ph type="body" sz="quarter" idx="18" hasCustomPrompt="1"/>
          </p:nvPr>
        </p:nvSpPr>
        <p:spPr>
          <a:xfrm>
            <a:off x="374902" y="1526183"/>
            <a:ext cx="11433977" cy="369486"/>
          </a:xfrm>
          <a:prstGeom prst="rect">
            <a:avLst/>
          </a:prstGeom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4904" y="1920874"/>
            <a:ext cx="11433977" cy="4358006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9094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4243D16-78B0-BF7E-7EE9-B51138BA7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quarter" idx="17"/>
          </p:nvPr>
        </p:nvSpPr>
        <p:spPr>
          <a:xfrm>
            <a:off x="385100" y="1165860"/>
            <a:ext cx="5523992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8"/>
          </p:nvPr>
        </p:nvSpPr>
        <p:spPr>
          <a:xfrm>
            <a:off x="6260021" y="1165860"/>
            <a:ext cx="5523992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7BAE68A-27A7-6C3D-4142-7F3922D49B3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9444F98-C525-C008-1B46-B4DCF8808D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8813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541417"/>
            <a:ext cx="5523992" cy="4729841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0857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541418"/>
            <a:ext cx="5523992" cy="473746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541418"/>
            <a:ext cx="5523992" cy="473746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0683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8" cy="369486"/>
          </a:xfrm>
          <a:prstGeom prst="rect">
            <a:avLst/>
          </a:prstGeom>
        </p:spPr>
        <p:txBody>
          <a:bodyPr vert="horz" lIns="0" tIns="0" rIns="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888132"/>
            <a:ext cx="5523992" cy="4383127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888133"/>
            <a:ext cx="5523992" cy="4383126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3279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Heading 2"/>
          <p:cNvSpPr>
            <a:spLocks noGrp="1"/>
          </p:cNvSpPr>
          <p:nvPr>
            <p:ph type="body" sz="quarter" idx="19" hasCustomPrompt="1"/>
          </p:nvPr>
        </p:nvSpPr>
        <p:spPr>
          <a:xfrm>
            <a:off x="374903" y="1129022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Heading 4"/>
          <p:cNvSpPr>
            <a:spLocks noGrp="1"/>
          </p:cNvSpPr>
          <p:nvPr>
            <p:ph type="body" sz="quarter" idx="21" hasCustomPrompt="1"/>
          </p:nvPr>
        </p:nvSpPr>
        <p:spPr>
          <a:xfrm>
            <a:off x="6260399" y="1129022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rgbClr val="292D3A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5"/>
          <p:cNvSpPr>
            <a:spLocks noGrp="1"/>
          </p:cNvSpPr>
          <p:nvPr>
            <p:ph sz="quarter" idx="20"/>
          </p:nvPr>
        </p:nvSpPr>
        <p:spPr>
          <a:xfrm>
            <a:off x="6260021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6">
            <a:extLst>
              <a:ext uri="{FF2B5EF4-FFF2-40B4-BE49-F238E27FC236}">
                <a16:creationId xmlns:a16="http://schemas.microsoft.com/office/drawing/2014/main" id="{6A21F8B9-A226-C863-E39B-92687650DAA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C22C88C5-7051-4300-5EDA-B8F76B6C396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0901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9" name="Heading 3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1473135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888132"/>
            <a:ext cx="5523992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5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0021" y="1473135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8" name="Content Placeholder 6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888133"/>
            <a:ext cx="5523992" cy="4390746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7">
            <a:extLst>
              <a:ext uri="{FF2B5EF4-FFF2-40B4-BE49-F238E27FC236}">
                <a16:creationId xmlns:a16="http://schemas.microsoft.com/office/drawing/2014/main" id="{1902BBC2-BD44-DEAF-58E4-737CC53BBBD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8">
            <a:extLst>
              <a:ext uri="{FF2B5EF4-FFF2-40B4-BE49-F238E27FC236}">
                <a16:creationId xmlns:a16="http://schemas.microsoft.com/office/drawing/2014/main" id="{38DD5D5E-5ECA-A659-E4D1-059428798A6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1226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385100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quarter" idx="18"/>
          </p:nvPr>
        </p:nvSpPr>
        <p:spPr>
          <a:xfrm>
            <a:off x="4268787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4"/>
          <p:cNvSpPr>
            <a:spLocks noGrp="1"/>
          </p:cNvSpPr>
          <p:nvPr>
            <p:ph sz="quarter" idx="19"/>
          </p:nvPr>
        </p:nvSpPr>
        <p:spPr>
          <a:xfrm>
            <a:off x="8152474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107EAFD6-415C-88F0-6EE5-4D5D4B8A954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D781A8C7-DBC3-6CA7-393A-B76EB01BD15A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1151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 anchorCtr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B5786B1-1D78-07AE-99E2-9ACA6A302D5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C5CFBF7C-9A9D-283B-3040-62F4E8BBA2B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CE933D73-FF2E-5038-2928-57B052E6DEC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CE1CB3F7-BD80-2E75-509D-9F8010556A9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9199F5B5-25C5-2F5D-8947-057651169F8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037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6">
            <a:extLst>
              <a:ext uri="{FF2B5EF4-FFF2-40B4-BE49-F238E27FC236}">
                <a16:creationId xmlns:a16="http://schemas.microsoft.com/office/drawing/2014/main" id="{715285DB-111F-371C-CCBA-1DD3F3E0D33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B08A4F95-E980-ECB5-112F-5B4A2D0D7706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8148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186492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276344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374905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3" y="393192"/>
            <a:ext cx="11442627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9555D4-44D6-AEAB-C73E-7D5E09D78D6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DBD838-E55E-389E-324E-987E3489B3B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2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6" cy="369486"/>
          </a:xfrm>
          <a:prstGeom prst="rect">
            <a:avLst/>
          </a:prstGeom>
        </p:spPr>
        <p:txBody>
          <a:bodyPr tIns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15D01BB8-727D-8CA2-AA4D-A23CC782B59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4B155FBF-4BEC-C1E1-CB2C-2ED0CF71CC1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E1F0C114-EFF4-4AC2-300D-DD8958809D0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896841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B06B5E63-2A42-E758-4078-93602512C48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7" name="Slide Number Placeholder 7">
            <a:extLst>
              <a:ext uri="{FF2B5EF4-FFF2-40B4-BE49-F238E27FC236}">
                <a16:creationId xmlns:a16="http://schemas.microsoft.com/office/drawing/2014/main" id="{73BBC2BF-0D27-EE97-15E2-3172489A9EF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3459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3" y="393192"/>
            <a:ext cx="11442627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Heading 2"/>
          <p:cNvSpPr>
            <a:spLocks noGrp="1"/>
          </p:cNvSpPr>
          <p:nvPr>
            <p:ph type="body" sz="quarter" idx="19" hasCustomPrompt="1"/>
          </p:nvPr>
        </p:nvSpPr>
        <p:spPr>
          <a:xfrm>
            <a:off x="374905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4"/>
          <p:cNvSpPr>
            <a:spLocks noGrp="1"/>
          </p:cNvSpPr>
          <p:nvPr>
            <p:ph type="body" sz="quarter" idx="23" hasCustomPrompt="1"/>
          </p:nvPr>
        </p:nvSpPr>
        <p:spPr>
          <a:xfrm>
            <a:off x="4276344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5" name="Content Placeholder 5"/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6"/>
          <p:cNvSpPr>
            <a:spLocks noGrp="1"/>
          </p:cNvSpPr>
          <p:nvPr>
            <p:ph type="body" sz="quarter" idx="21" hasCustomPrompt="1"/>
          </p:nvPr>
        </p:nvSpPr>
        <p:spPr>
          <a:xfrm>
            <a:off x="8186492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6" name="Content Placeholder 7"/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8">
            <a:extLst>
              <a:ext uri="{FF2B5EF4-FFF2-40B4-BE49-F238E27FC236}">
                <a16:creationId xmlns:a16="http://schemas.microsoft.com/office/drawing/2014/main" id="{DF9555D4-44D6-AEAB-C73E-7D5E09D78D6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9">
            <a:extLst>
              <a:ext uri="{FF2B5EF4-FFF2-40B4-BE49-F238E27FC236}">
                <a16:creationId xmlns:a16="http://schemas.microsoft.com/office/drawing/2014/main" id="{90DBD838-E55E-389E-324E-987E3489B3B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5673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9" name="Heading 3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4905" y="1490550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31" name="Content Placeholder 4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5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65611" y="1490550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8" name="Content Placeholder 6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7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46122" y="1499259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896841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9">
            <a:extLst>
              <a:ext uri="{FF2B5EF4-FFF2-40B4-BE49-F238E27FC236}">
                <a16:creationId xmlns:a16="http://schemas.microsoft.com/office/drawing/2014/main" id="{53F4A635-D29C-5A5D-714B-00FFBC11273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83E2F088-5C0B-D552-5583-1D142B559A9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826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920F9A92-64E5-9B39-37FB-32E33BE347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7C1C6913-628D-910F-538E-B2627BE588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1427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5366A10F-E470-2340-640E-A14F866265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B75F6F1F-DB9C-06A9-C184-CF5F49CEF6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3517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94FA5188-3004-E27B-6C13-6CEBF1DE5A1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73A4466B-6230-7EB6-5A32-83ABCAD0DC5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9983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6" cy="369486"/>
          </a:xfrm>
          <a:prstGeom prst="rect">
            <a:avLst/>
          </a:prstGeom>
        </p:spPr>
        <p:txBody>
          <a:bodyPr vert="horz" lIns="0" tIns="0" rIns="0" bIns="45720" rtlCol="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0EC1AB-5084-D572-D008-65E0904E99A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3AFB48-7218-4A49-8C9C-891144C1538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1864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prstGeom prst="rect">
            <a:avLst/>
          </a:prstGeo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294255" y="999540"/>
            <a:ext cx="3479038" cy="5100531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F377B5-1282-FF1A-9E56-8C043D9FCD9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F3186F-3885-5DE5-8FA5-6CD9D9747D4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5359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904" y="4181475"/>
            <a:ext cx="5564990" cy="1984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19023" y="4131540"/>
            <a:ext cx="5564990" cy="2034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6">
            <a:extLst>
              <a:ext uri="{FF2B5EF4-FFF2-40B4-BE49-F238E27FC236}">
                <a16:creationId xmlns:a16="http://schemas.microsoft.com/office/drawing/2014/main" id="{DF64BF61-1E66-23EC-73D9-9D4373CF4EF7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7F4CAAFC-7C73-8B7A-5AEF-933F0A6EB31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280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904" y="4184650"/>
            <a:ext cx="3684404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 marL="540000" indent="0">
              <a:buNone/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32908" y="4184650"/>
            <a:ext cx="3684404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6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090912" y="4184650"/>
            <a:ext cx="3684405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8">
            <a:extLst>
              <a:ext uri="{FF2B5EF4-FFF2-40B4-BE49-F238E27FC236}">
                <a16:creationId xmlns:a16="http://schemas.microsoft.com/office/drawing/2014/main" id="{B7CE0358-7593-FDA7-B0FB-FF0EC1E32039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9">
            <a:extLst>
              <a:ext uri="{FF2B5EF4-FFF2-40B4-BE49-F238E27FC236}">
                <a16:creationId xmlns:a16="http://schemas.microsoft.com/office/drawing/2014/main" id="{C087F768-80AD-E284-7CB0-AA45A8DB30A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650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896841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46122" y="1499259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65611" y="1490550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4905" y="1490550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F4A635-D29C-5A5D-714B-00FFBC11273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E2F088-5C0B-D552-5583-1D142B559A9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605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urp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rgbClr val="292D3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7B045ACD-D682-9F85-8976-3DE690571A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 dirty="0">
                <a:solidFill>
                  <a:srgbClr val="292D3A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74905" y="1541418"/>
            <a:ext cx="3393532" cy="4729842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3"/>
          </p:nvPr>
        </p:nvSpPr>
        <p:spPr>
          <a:xfrm>
            <a:off x="4100945" y="1533798"/>
            <a:ext cx="7707937" cy="4737462"/>
          </a:xfrm>
          <a:prstGeom prst="rect">
            <a:avLst/>
          </a:prstGeom>
        </p:spPr>
        <p:txBody>
          <a:bodyPr lIns="0" tIns="45720" rIns="0" bIns="45720" anchor="ctr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0C3246-51E8-2C6D-91C1-DC5E683C70B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A66BA11A-FF4F-0B31-22B7-B062F5B3F9B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5694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Picture and Da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6B5CDF8B-3973-89BC-B0C3-0099168110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3462615" cy="841248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pl-PL"/>
              <a:t>Title and</a:t>
            </a:r>
            <a:br>
              <a:rPr lang="pl-PL"/>
            </a:br>
            <a:r>
              <a:rPr lang="pl-PL"/>
              <a:t>c</a:t>
            </a:r>
            <a:r>
              <a:rPr lang="en-US" err="1"/>
              <a:t>ontent</a:t>
            </a:r>
            <a:r>
              <a:rPr lang="pl-PL"/>
              <a:t> only</a:t>
            </a:r>
            <a:endParaRPr lang="en-US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9192AB6B-CCDC-C9ED-9B4D-B9B1DAE2FC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4905" y="1541418"/>
            <a:ext cx="3462614" cy="4729842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F3D244D9-326C-937C-4B8E-43F52273E32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2"/>
          </p:nvPr>
        </p:nvSpPr>
        <p:spPr>
          <a:xfrm>
            <a:off x="4210050" y="0"/>
            <a:ext cx="798195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Number Text Placeholder 4">
            <a:extLst>
              <a:ext uri="{FF2B5EF4-FFF2-40B4-BE49-F238E27FC236}">
                <a16:creationId xmlns:a16="http://schemas.microsoft.com/office/drawing/2014/main" id="{C8956EBD-8393-95D1-85FB-895F28E855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94255" y="4073237"/>
            <a:ext cx="3897745" cy="2784764"/>
          </a:xfrm>
          <a:prstGeom prst="rect">
            <a:avLst/>
          </a:prstGeom>
          <a:gradFill flip="none" rotWithShape="1">
            <a:gsLst>
              <a:gs pos="14000">
                <a:srgbClr val="05CC93"/>
              </a:gs>
              <a:gs pos="39000">
                <a:srgbClr val="05CC93">
                  <a:alpha val="80353"/>
                </a:srgbClr>
              </a:gs>
              <a:gs pos="85000">
                <a:schemeClr val="bg1">
                  <a:alpha val="0"/>
                </a:schemeClr>
              </a:gs>
            </a:gsLst>
            <a:lin ang="2700000" scaled="1"/>
            <a:tileRect/>
          </a:gradFill>
        </p:spPr>
        <p:txBody>
          <a:bodyPr vert="horz" lIns="274320" tIns="274320" rIns="182880" bIns="182880" rtlCol="0">
            <a:noAutofit/>
          </a:bodyPr>
          <a:lstStyle>
            <a:lvl1pPr>
              <a:defRPr lang="en-US" sz="6000" dirty="0">
                <a:solidFill>
                  <a:schemeClr val="tx1"/>
                </a:solidFill>
                <a:latin typeface="HPE Graphik Light" pitchFamily="50" charset="0"/>
              </a:defRPr>
            </a:lvl1pPr>
            <a:lvl2pPr>
              <a:defRPr lang="en-US" dirty="0">
                <a:solidFill>
                  <a:sysClr val="windowText" lastClr="000000"/>
                </a:solidFill>
              </a:defRPr>
            </a:lvl2pPr>
          </a:lstStyle>
          <a:p>
            <a:pPr lvl="0">
              <a:lnSpc>
                <a:spcPct val="90000"/>
              </a:lnSpc>
            </a:pPr>
            <a:r>
              <a:rPr lang="en-US"/>
              <a:t>XX%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F65D24DA-8A81-CB0A-0EE3-30119C813D6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86788" y="5251730"/>
            <a:ext cx="3230307" cy="88538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5C2101BA-46FD-36C0-99F1-408C742C972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7">
            <a:extLst>
              <a:ext uri="{FF2B5EF4-FFF2-40B4-BE49-F238E27FC236}">
                <a16:creationId xmlns:a16="http://schemas.microsoft.com/office/drawing/2014/main" id="{32D4E478-B9A3-DF0A-2BC5-A31D39827AD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3052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DCBED57-19AD-707F-6DA8-8B468453C59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0136B64A-A8CA-B4F8-1ED1-53DA9C290E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403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8065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D56B6084-0FE4-4048-3583-741AE0C95AE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51FA49D1-EA5E-4BDC-03EF-986C3CB3B92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737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58C0B22-3DC2-E652-E265-9A67A96AF6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0224"/>
            <a:ext cx="10098780" cy="847538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Big idea statement single line</a:t>
            </a: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21BA14BF-4CB3-F25B-80B2-5B579ED386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DC303F11-128A-0352-F6B9-03E0CB827C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8017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615"/>
            <a:ext cx="9416520" cy="2306296"/>
          </a:xfrm>
        </p:spPr>
        <p:txBody>
          <a:bodyPr/>
          <a:lstStyle>
            <a:lvl1pPr>
              <a:lnSpc>
                <a:spcPct val="85000"/>
              </a:lnSpc>
              <a:defRPr sz="5500" b="0" i="0">
                <a:latin typeface="HPE Graphik Light" pitchFamily="2" charset="77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C4FC89-98CE-BBFA-D898-76DCDE986A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0742BF92-646B-24E1-901E-D19598CBBE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7397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0B2CDC00-5B37-BE1C-550C-F0774AF951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0224"/>
            <a:ext cx="10098780" cy="847538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Big idea statement single line</a:t>
            </a: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5D7AC752-1063-D945-4038-6C1905F0CC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6BD784A7-2DD7-80EE-047F-D63021A326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5814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4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8"/>
            <a:ext cx="9457413" cy="2304288"/>
          </a:xfrm>
        </p:spPr>
        <p:txBody>
          <a:bodyPr/>
          <a:lstStyle>
            <a:lvl1pPr>
              <a:lnSpc>
                <a:spcPct val="85000"/>
              </a:lnSpc>
              <a:defRPr sz="55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EAC085-14E9-0648-9F2A-D3AD872D976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2FCAEB46-BF54-E6AC-203B-DC671344E5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718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5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47254" y="374650"/>
            <a:ext cx="4062159" cy="3553883"/>
          </a:xfrm>
        </p:spPr>
        <p:txBody>
          <a:bodyPr anchor="t"/>
          <a:lstStyle>
            <a:lvl1pPr>
              <a:lnSpc>
                <a:spcPct val="90000"/>
              </a:lnSpc>
              <a:defRPr sz="40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r>
              <a:rPr lang="en-US"/>
              <a:t>Big idea</a:t>
            </a:r>
            <a:br>
              <a:rPr lang="en-US"/>
            </a:br>
            <a:r>
              <a:rPr lang="en-US"/>
              <a:t>statement with</a:t>
            </a:r>
            <a:br>
              <a:rPr lang="en-US"/>
            </a:br>
            <a:r>
              <a:rPr lang="en-US"/>
              <a:t>multiple lines</a:t>
            </a:r>
            <a:br>
              <a:rPr lang="en-US"/>
            </a:br>
            <a:r>
              <a:rPr lang="en-US"/>
              <a:t>placed here</a:t>
            </a:r>
            <a:br>
              <a:rPr lang="en-US"/>
            </a:br>
            <a:r>
              <a:rPr lang="en-US"/>
              <a:t>lorem ipsum</a:t>
            </a:r>
            <a:br>
              <a:rPr lang="en-US"/>
            </a:br>
            <a:r>
              <a:rPr lang="en-US"/>
              <a:t>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58DE96-548B-9145-85BC-5AF5D72537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33DAEC1C-FBEC-C5AF-4FAC-F67E7EBEFD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7619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0F9A92-64E5-9B39-37FB-32E33BE347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1C6913-628D-910F-538E-B2627BE588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2441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6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9"/>
            <a:ext cx="5676900" cy="3747262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0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pPr algn="l"/>
            <a:r>
              <a:rPr lang="en-US"/>
              <a:t>Big idea statement with multiple lines placed here</a:t>
            </a:r>
            <a:br>
              <a:rPr lang="en-US"/>
            </a:br>
            <a:r>
              <a:rPr lang="en-US"/>
              <a:t>lorem ipsum dolo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714F5D-2F9A-82E8-FC18-7CB26875487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8A51A1E7-04E9-D26E-A5C3-735AE6D398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871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374903" y="2449576"/>
            <a:ext cx="8188525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endParaRPr lang="en-US"/>
          </a:p>
        </p:txBody>
      </p:sp>
      <p:sp>
        <p:nvSpPr>
          <p:cNvPr id="17" name="Speaker Information 2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383433" y="3392391"/>
            <a:ext cx="8188525" cy="876300"/>
          </a:xfrm>
          <a:prstGeom prst="rect">
            <a:avLst/>
          </a:prstGeom>
        </p:spPr>
        <p:txBody>
          <a:bodyPr lIns="0" tIns="45720" rIns="0" bIns="4572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8F29566-5470-D3D8-0F61-D70F81B7E50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smtClean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1680853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Light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Element 1" descr="A green and grey gradient&#10;&#10;AI-generated content may be incorrect.">
            <a:extLst>
              <a:ext uri="{FF2B5EF4-FFF2-40B4-BE49-F238E27FC236}">
                <a16:creationId xmlns:a16="http://schemas.microsoft.com/office/drawing/2014/main" id="{DE9F31A4-7BA9-4409-0FF0-FF9FD06F3D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68339"/>
            <a:ext cx="10819505" cy="4114800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ED5DFE24-7967-7D11-937E-63FD38BA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3" y="2449576"/>
            <a:ext cx="9359900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r>
              <a:rPr lang="en-US"/>
              <a:t> (</a:t>
            </a:r>
            <a:r>
              <a:rPr lang="pl-PL"/>
              <a:t>light</a:t>
            </a:r>
            <a:r>
              <a:rPr lang="en-US"/>
              <a:t> picture)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12085280-0B62-84D3-5783-A089C9A32C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2" y="3392391"/>
            <a:ext cx="9359900" cy="876300"/>
          </a:xfrm>
          <a:prstGeom prst="rect">
            <a:avLst/>
          </a:prstGeom>
        </p:spPr>
        <p:txBody>
          <a:bodyPr lIns="0" tIns="45720" rIns="0" bIns="4572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en-US"/>
              <a:t>Speaker contact information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F7BE8274-93CB-8904-C782-810A38A1D7B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066ECF0A-4D7E-CA75-6327-AA0FF80CF9A4}"/>
              </a:ext>
            </a:extLst>
          </p:cNvPr>
          <p:cNvSpPr txBox="1"/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smtClean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3973700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Dark Picture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Element 1" descr="A green and grey gradient&#10;&#10;AI-generated content may be incorrect.">
            <a:extLst>
              <a:ext uri="{FF2B5EF4-FFF2-40B4-BE49-F238E27FC236}">
                <a16:creationId xmlns:a16="http://schemas.microsoft.com/office/drawing/2014/main" id="{547D85B3-8CD9-9846-DB0A-12364143C2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5000"/>
          </a:blip>
          <a:stretch>
            <a:fillRect/>
          </a:stretch>
        </p:blipFill>
        <p:spPr>
          <a:xfrm>
            <a:off x="0" y="1371600"/>
            <a:ext cx="10819505" cy="4114800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ED5DFE24-7967-7D11-937E-63FD38BA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3" y="2449576"/>
            <a:ext cx="9359900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r>
              <a:rPr lang="en-US"/>
              <a:t> (dark picture)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12085280-0B62-84D3-5783-A089C9A32C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3" y="3392391"/>
            <a:ext cx="9359900" cy="876300"/>
          </a:xfrm>
          <a:prstGeom prst="rect">
            <a:avLst/>
          </a:prstGeom>
        </p:spPr>
        <p:txBody>
          <a:bodyPr lIns="0" tIns="45720" rIns="0" bIns="4572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/>
              <a:t>Speaker contact information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8116B25-28AD-427B-1033-715BCFEF17E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 b="0">
                <a:solidFill>
                  <a:schemeClr val="bg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0183FCC9-DD19-ACEA-AAB1-9D15104F9E8D}"/>
              </a:ext>
            </a:extLst>
          </p:cNvPr>
          <p:cNvSpPr txBox="1"/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 b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b="0" smtClean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 b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3120640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"/>
          <p:cNvSpPr>
            <a:spLocks noGrp="1"/>
          </p:cNvSpPr>
          <p:nvPr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91440" bIns="91440" anchor="b"/>
          <a:lstStyle>
            <a:lvl1pPr>
              <a:lnSpc>
                <a:spcPct val="8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6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7" name="Date 4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3" name="Footer Placeholder 5">
            <a:extLst>
              <a:ext uri="{FF2B5EF4-FFF2-40B4-BE49-F238E27FC236}">
                <a16:creationId xmlns:a16="http://schemas.microsoft.com/office/drawing/2014/main" id="{4E6A0C1C-FFFA-74C0-3719-4E6EA4C7BF7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7FCAEB09-CC92-C4AF-AFC7-84F7B4C836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Logo 1">
            <a:extLst>
              <a:ext uri="{FF2B5EF4-FFF2-40B4-BE49-F238E27FC236}">
                <a16:creationId xmlns:a16="http://schemas.microsoft.com/office/drawing/2014/main" id="{B83773F4-6A59-C5D0-F783-BCC7C49F16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905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 1">
            <a:extLst>
              <a:ext uri="{FF2B5EF4-FFF2-40B4-BE49-F238E27FC236}">
                <a16:creationId xmlns:a16="http://schemas.microsoft.com/office/drawing/2014/main" id="{7E04AA86-3390-5E05-F138-33B691BA0D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4907" y="388783"/>
            <a:ext cx="1019648" cy="291328"/>
          </a:xfrm>
          <a:prstGeom prst="rect">
            <a:avLst/>
          </a:prstGeom>
        </p:spPr>
      </p:pic>
      <p:sp>
        <p:nvSpPr>
          <p:cNvPr id="15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0" bIns="91440" anchor="b"/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6" name="Subtitle 3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7" name="Date 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0" bIns="9144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DDA1A1B8-63A0-5FF8-D94D-A64DF0037BD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6F51E08A-0EC1-9757-9EC4-3B8B8A2FC0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401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"/>
          <p:cNvSpPr>
            <a:spLocks noGrp="1"/>
          </p:cNvSpPr>
          <p:nvPr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91440" bIns="91440" anchor="b"/>
          <a:lstStyle>
            <a:lvl1pPr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defRPr sz="4800">
                <a:solidFill>
                  <a:srgbClr val="292D3A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2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292D3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9" name="Date 4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rgbClr val="292D3A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737513D-A3AB-F0E4-0CD1-28BE5E7621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32D4E66E-34EA-3AC2-4F5C-196138F8CF1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Logo 1">
            <a:extLst>
              <a:ext uri="{FF2B5EF4-FFF2-40B4-BE49-F238E27FC236}">
                <a16:creationId xmlns:a16="http://schemas.microsoft.com/office/drawing/2014/main" id="{9C5792F6-D0E2-FD37-29B6-8768B21D3F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094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8">
            <a:extLst>
              <a:ext uri="{FF2B5EF4-FFF2-40B4-BE49-F238E27FC236}">
                <a16:creationId xmlns:a16="http://schemas.microsoft.com/office/drawing/2014/main" id="{BFE461D8-0641-727D-F822-B1556D372F2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7" name="Slide Number Placeholder 9">
            <a:extLst>
              <a:ext uri="{FF2B5EF4-FFF2-40B4-BE49-F238E27FC236}">
                <a16:creationId xmlns:a16="http://schemas.microsoft.com/office/drawing/2014/main" id="{CFDC7940-ECD3-9B40-E568-B47ABAFA6AC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5515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84398" y="1386402"/>
            <a:ext cx="7518482" cy="4085196"/>
          </a:xfrm>
        </p:spPr>
        <p:txBody>
          <a:bodyPr lIns="91440" anchor="ctr" anchorCtr="0"/>
          <a:lstStyle>
            <a:lvl1pPr marL="219456" indent="-219456">
              <a:defRPr sz="4000" b="0" cap="none" baseline="0">
                <a:latin typeface="HPE Graphik Light" pitchFamily="50" charset="0"/>
                <a:cs typeface="HPE Graphik Light" pitchFamily="50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6" y="5471598"/>
            <a:ext cx="8228011" cy="533400"/>
          </a:xfrm>
          <a:prstGeom prst="rect">
            <a:avLst/>
          </a:prstGeo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F2754E-094F-7C73-88B9-FF823BF8303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HPE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CDFAF2-F03B-8CB9-A43F-2C8C54F552D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0945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DBE2E1BB-CE0A-BA4E-62F3-C11C72B14B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4EC4B5E-61C1-0327-AC26-FD6B85B7F0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F6E81DF5-9D1C-2874-F10C-40090BD539D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DEE9B376-05EC-3588-37E2-05C039D1F60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0061C036-93AE-3BAB-6526-8E33EA44445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702D808-AF03-DEF9-0314-E4335A543C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4970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28D69DFE-88C2-F477-D6FA-5A27957CC5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6E6D92-7C0F-2881-3B5C-2BB90CF3E4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6047C21-8C30-FF57-32D9-77CA97A7962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9CAA1BA3-D079-6DA7-65CB-51062A7D93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CFFEB8AD-256D-84E9-5A93-EB95B92E4B9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22247A9-BAB1-E44F-778D-D7B252E6247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554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66A10F-E470-2340-640E-A14F866265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5F6F1F-DB9C-06A9-C184-CF5F49CEF6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757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4C7E62B9-7B57-1325-41F8-B563932F32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D4869DF-7C8C-6D6D-CBDF-4F57DD5DFF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2FBDD54F-6F02-5565-BE03-576E378CDA1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C9B879B3-45C8-291E-B795-79029A3CF9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199A56CF-9478-6AE1-8265-95E8C72FD0E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A8CED90-83F5-DFF6-245A-6CD299701B8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498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28D69DFE-88C2-F477-D6FA-5A27957CC5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6E6D92-7C0F-2881-3B5C-2BB90CF3E4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6047C21-8C30-FF57-32D9-77CA97A7962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9CAA1BA3-D079-6DA7-65CB-51062A7D93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CFFEB8AD-256D-84E9-5A93-EB95B92E4B9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22247A9-BAB1-E44F-778D-D7B252E6247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479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 with Light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Element">
            <a:extLst>
              <a:ext uri="{FF2B5EF4-FFF2-40B4-BE49-F238E27FC236}">
                <a16:creationId xmlns:a16="http://schemas.microsoft.com/office/drawing/2014/main" id="{599C7368-45FB-FA9F-C233-DCDE9E9A3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518948"/>
            <a:ext cx="10934113" cy="53390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3791"/>
            <a:ext cx="9144000" cy="1577109"/>
          </a:xfrm>
        </p:spPr>
        <p:txBody>
          <a:bodyPr lIns="0" tIns="46990" rIns="0" bIns="4699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4 (with </a:t>
            </a:r>
            <a:r>
              <a:rPr lang="pl-PL"/>
              <a:t>light </a:t>
            </a:r>
            <a:r>
              <a:rPr lang="en-US"/>
              <a:t>picture)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D5F3A39-BBD4-AFEB-B4E7-8CA166BB30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C55DFAC-A001-72E6-262A-D060D79E0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B627C3-C1BB-9558-7C73-E25CB3B6E8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BA235C-CFDA-EC42-8041-30F0839937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E8EFE5D-1C0B-203B-2788-D4F44A09CA0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2037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36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 with Dark Picture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Element">
            <a:extLst>
              <a:ext uri="{FF2B5EF4-FFF2-40B4-BE49-F238E27FC236}">
                <a16:creationId xmlns:a16="http://schemas.microsoft.com/office/drawing/2014/main" id="{599C7368-45FB-FA9F-C233-DCDE9E9A3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518948"/>
            <a:ext cx="10934113" cy="53390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3791"/>
            <a:ext cx="9144000" cy="1577109"/>
          </a:xfrm>
        </p:spPr>
        <p:txBody>
          <a:bodyPr lIns="0" tIns="46990" rIns="0" bIns="4699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over 4 (with dark picture)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D5F3A39-BBD4-AFEB-B4E7-8CA166BB30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C55DFAC-A001-72E6-262A-D060D79E0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B627C3-C1BB-9558-7C73-E25CB3B6E8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BA235C-CFDA-EC42-8041-30F0839937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5AD027A1-F5B6-22EB-1410-56C7B528913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4907" y="388783"/>
            <a:ext cx="1019648" cy="291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65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36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5 with Pictur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BD4F32D-3591-565F-ADF6-7D7D28EF243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2974206"/>
            <a:ext cx="9206753" cy="388379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Image placehol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38" y="1178790"/>
            <a:ext cx="9144000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5 (with picture)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A1730018-7DE4-8985-2868-18B01444A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55099" y="2887955"/>
            <a:ext cx="2485505" cy="10268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 maximum three lin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BD8F41-4872-8861-CBF3-EDAA068B0DC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55098" y="3924300"/>
            <a:ext cx="2485506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585DF01E-4205-00B8-31D5-62F133D646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55097" y="6155690"/>
            <a:ext cx="1834441" cy="450628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A8DF9B4-8078-C49B-C422-13DD4F863D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F4DA0103-EE8D-10C5-8FF2-02FCBAFCB9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8556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6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Element image" descr="A black and white rectangle with a green and black rectangle&#10;&#10;AI-generated content may be incorrect.">
            <a:extLst>
              <a:ext uri="{FF2B5EF4-FFF2-40B4-BE49-F238E27FC236}">
                <a16:creationId xmlns:a16="http://schemas.microsoft.com/office/drawing/2014/main" id="{557B342C-B686-916C-8D1E-533F53E2C2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68" y="0"/>
            <a:ext cx="12187263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912" y="1127322"/>
            <a:ext cx="4465637" cy="2951480"/>
          </a:xfrm>
        </p:spPr>
        <p:txBody>
          <a:bodyPr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6 </a:t>
            </a:r>
            <a:br>
              <a:rPr lang="en-US"/>
            </a:br>
            <a:r>
              <a:rPr lang="en-US"/>
              <a:t>(with picture)</a:t>
            </a:r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90E4737B-80BB-A453-9EC0-40344848478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A6F5877F-D5C2-0CC0-F815-A40F949BFE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B4B6A315-F84A-43CB-2612-0093AD26A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650" y="4101316"/>
            <a:ext cx="4465638" cy="680234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br>
              <a:rPr lang="en-US"/>
            </a:br>
            <a:r>
              <a:rPr lang="en-US"/>
              <a:t>over 2 lines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1E6999B2-BD34-3D8A-995A-23314865E5B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7" y="4838706"/>
            <a:ext cx="4465637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pic>
        <p:nvPicPr>
          <p:cNvPr id="12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D60D540B-8356-03C5-A3D0-DD92935A31B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52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1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F33158-1754-653B-F011-1E6EDDA861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E9BAFD-B89D-1DD6-6FAB-B033012DF6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50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2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86C1509-153F-BD27-73E3-F87006A3EC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3318031-32A0-57F5-89E3-BD97D3EE47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568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3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3C35D8-793D-910E-958E-12734E9433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0ABB62-7FB2-A10A-FB79-640977444A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0430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lement Image">
            <a:extLst>
              <a:ext uri="{FF2B5EF4-FFF2-40B4-BE49-F238E27FC236}">
                <a16:creationId xmlns:a16="http://schemas.microsoft.com/office/drawing/2014/main" id="{1A711596-B981-E895-2147-80AF02FC6F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96" t="654" r="1416" b="120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951F0D95-92C8-F614-A840-CCF636DDBE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5" y="393193"/>
            <a:ext cx="11433977" cy="946080"/>
          </a:xfrm>
        </p:spPr>
        <p:txBody>
          <a:bodyPr lIns="0" tIns="0" rIns="91440" bIns="0"/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6000" b="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r>
              <a:rPr lang="en-US"/>
              <a:t>Divider 4 (with picture)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6D7B23CD-0964-2C4F-2645-F616DF81D0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C3AD242-1EDC-575F-5C91-FD24DABDDF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9473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FA5188-3004-E27B-6C13-6CEBF1DE5A1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A4466B-6230-7EB6-5A32-83ABCAD0DC5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788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1165860"/>
            <a:ext cx="11404800" cy="5097600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B6C3F6-7864-1614-6433-B6E9205341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A371ED-2734-3586-C69F-E31DDE6FB9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853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541417"/>
            <a:ext cx="11433977" cy="4730795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42628" cy="775846"/>
          </a:xfr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D62CB2E-81D7-48A5-A15B-340BF48D21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268E2A-81AF-75F2-036F-19A286FA83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1371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74904" y="1541417"/>
            <a:ext cx="11433977" cy="4730795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2004365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95F41DF-93F3-CDC9-2F09-5645DCF4B1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33978" cy="369486"/>
          </a:xfrm>
          <a:prstGeom prst="rect">
            <a:avLst/>
          </a:prstGeom>
        </p:spPr>
        <p:txBody>
          <a:bodyPr t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B1FDE8-1311-7248-18A8-D4800084C25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A4E9F6-3410-0A4E-80C1-A550B6D95A6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9">
            <a:extLst>
              <a:ext uri="{FF2B5EF4-FFF2-40B4-BE49-F238E27FC236}">
                <a16:creationId xmlns:a16="http://schemas.microsoft.com/office/drawing/2014/main" id="{8228B93E-9AAB-D047-1D10-C52AC4536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bIns="0" anchor="t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Content Placeholder">
            <a:extLst>
              <a:ext uri="{FF2B5EF4-FFF2-40B4-BE49-F238E27FC236}">
                <a16:creationId xmlns:a16="http://schemas.microsoft.com/office/drawing/2014/main" id="{AA8B383B-1E87-87BA-8652-6B7B1E2F64D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4904" y="1920874"/>
            <a:ext cx="11433977" cy="4358006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050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4904" y="1920874"/>
            <a:ext cx="11433977" cy="4358006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374903" y="1526183"/>
            <a:ext cx="11347170" cy="369486"/>
          </a:xfrm>
          <a:prstGeom prst="rect">
            <a:avLst/>
          </a:prstGeom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lIns="0" tIns="0" rIns="91440" bIns="4572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1412358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1165860"/>
            <a:ext cx="5523992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165860"/>
            <a:ext cx="5523992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BAE68A-27A7-6C3D-4142-7F3922D49B3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444F98-C525-C008-1B46-B4DCF8808D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4243D16-78B0-BF7E-7EE9-B51138BA7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5984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541417"/>
            <a:ext cx="5523992" cy="4729841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0754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541418"/>
            <a:ext cx="5523992" cy="473746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541418"/>
            <a:ext cx="5523992" cy="473746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5262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888133"/>
            <a:ext cx="5523992" cy="4383126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888132"/>
            <a:ext cx="5523992" cy="4383127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33978" cy="369486"/>
          </a:xfrm>
          <a:prstGeom prst="rect">
            <a:avLst/>
          </a:prstGeom>
        </p:spPr>
        <p:txBody>
          <a:bodyPr vert="horz" lIns="0" tIns="0" rIns="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5836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74903" y="1129022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260021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60399" y="1129022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rgbClr val="292D3A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21F8B9-A226-C863-E39B-92687650DAA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2C88C5-7051-4300-5EDA-B8F76B6C396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4175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6" cy="369486"/>
          </a:xfrm>
          <a:prstGeom prst="rect">
            <a:avLst/>
          </a:prstGeom>
        </p:spPr>
        <p:txBody>
          <a:bodyPr vert="horz" lIns="0" tIns="0" rIns="0" bIns="45720" rtlCol="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0EC1AB-5084-D572-D008-65E0904E99A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3AFB48-7218-4A49-8C9C-891144C1538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1791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888133"/>
            <a:ext cx="5523992" cy="4390746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0021" y="1473135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888132"/>
            <a:ext cx="5523992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1473135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02BBC2-BD44-DEAF-58E4-737CC53BBBD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DD5D5E-5ECA-A659-E4D1-059428798A6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021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7EAFD6-415C-88F0-6EE5-4D5D4B8A954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81A8C7-DBC3-6CA7-393A-B76EB01BD15A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6931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 anchorCtr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1CB3F7-BD80-2E75-509D-9F8010556A9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99F5B5-25C5-2F5D-8947-057651169F8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E933D73-FF2E-5038-2928-57B052E6DEC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5CFBF7C-9A9D-283B-3040-62F4E8BBA2B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0B5786B1-1D78-07AE-99E2-9ACA6A302D5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22763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5285DB-111F-371C-CCBA-1DD3F3E0D33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8A4F95-E980-ECB5-112F-5B4A2D0D7706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36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6" cy="369486"/>
          </a:xfrm>
          <a:prstGeom prst="rect">
            <a:avLst/>
          </a:prstGeom>
        </p:spPr>
        <p:txBody>
          <a:bodyPr tIns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6B5E63-2A42-E758-4078-93602512C48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BBC2BF-0D27-EE97-15E2-3172489A9EF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E1F0C114-EFF4-4AC2-300D-DD8958809D0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896841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B155FBF-4BEC-C1E1-CB2C-2ED0CF71CC1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15D01BB8-727D-8CA2-AA4D-A23CC782B59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43463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186492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276344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374905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3" y="393192"/>
            <a:ext cx="11442627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9555D4-44D6-AEAB-C73E-7D5E09D78D6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DBD838-E55E-389E-324E-987E3489B3B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9963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896841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46122" y="1499259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65611" y="1490550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4905" y="1490550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F4A635-D29C-5A5D-714B-00FFBC11273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E2F088-5C0B-D552-5583-1D142B559A9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0923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0F9A92-64E5-9B39-37FB-32E33BE347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1C6913-628D-910F-538E-B2627BE588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827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66A10F-E470-2340-640E-A14F866265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5F6F1F-DB9C-06A9-C184-CF5F49CEF6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877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FA5188-3004-E27B-6C13-6CEBF1DE5A1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A4466B-6230-7EB6-5A32-83ABCAD0DC5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14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294255" y="999540"/>
            <a:ext cx="3479038" cy="5100531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prstGeom prst="rect">
            <a:avLst/>
          </a:prstGeo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F377B5-1282-FF1A-9E56-8C043D9FCD9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F3186F-3885-5DE5-8FA5-6CD9D9747D4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428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6" cy="369486"/>
          </a:xfrm>
          <a:prstGeom prst="rect">
            <a:avLst/>
          </a:prstGeom>
        </p:spPr>
        <p:txBody>
          <a:bodyPr vert="horz" lIns="0" tIns="0" rIns="0" bIns="45720" rtlCol="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0EC1AB-5084-D572-D008-65E0904E99A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3AFB48-7218-4A49-8C9C-891144C1538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6751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294255" y="999540"/>
            <a:ext cx="3479038" cy="5100531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prstGeom prst="rect">
            <a:avLst/>
          </a:prstGeo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F377B5-1282-FF1A-9E56-8C043D9FCD9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F3186F-3885-5DE5-8FA5-6CD9D9747D4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949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19023" y="4131540"/>
            <a:ext cx="5564990" cy="2034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904" y="4181475"/>
            <a:ext cx="5564990" cy="1984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64BF61-1E66-23EC-73D9-9D4373CF4EF7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4CAAFC-7C73-8B7A-5AEF-933F0A6EB31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686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090912" y="4184650"/>
            <a:ext cx="3684405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32908" y="4184650"/>
            <a:ext cx="3684404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904" y="4184650"/>
            <a:ext cx="3684404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 marL="540000" indent="0">
              <a:buNone/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CE0358-7593-FDA7-B0FB-FF0EC1E32039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87F768-80AD-E284-7CB0-AA45A8DB30A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7094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urp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100945" y="1533798"/>
            <a:ext cx="7707937" cy="4737462"/>
          </a:xfrm>
          <a:prstGeom prst="rect">
            <a:avLst/>
          </a:prstGeom>
        </p:spPr>
        <p:txBody>
          <a:bodyPr lIns="0" tIns="45720" rIns="0" bIns="45720" anchor="ctr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374905" y="1541418"/>
            <a:ext cx="3393532" cy="4729842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rgbClr val="292D3A"/>
                </a:solidFill>
              </a:defRPr>
            </a:lvl1pPr>
          </a:lstStyle>
          <a:p>
            <a:r>
              <a:rPr lang="en-US"/>
              <a:t>Click to Add multi-Line Title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7B045ACD-D682-9F85-8976-3DE690571A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 dirty="0">
                <a:solidFill>
                  <a:srgbClr val="292D3A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0C3246-51E8-2C6D-91C1-DC5E683C70B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66BA11A-FF4F-0B31-22B7-B062F5B3F9B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1074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Picture and Da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3D244D9-326C-937C-4B8E-43F52273E32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2"/>
          </p:nvPr>
        </p:nvSpPr>
        <p:spPr>
          <a:xfrm>
            <a:off x="4210050" y="0"/>
            <a:ext cx="798195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Number Text Placeholder 13">
            <a:extLst>
              <a:ext uri="{FF2B5EF4-FFF2-40B4-BE49-F238E27FC236}">
                <a16:creationId xmlns:a16="http://schemas.microsoft.com/office/drawing/2014/main" id="{C8956EBD-8393-95D1-85FB-895F28E855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94255" y="4073237"/>
            <a:ext cx="3897745" cy="2784764"/>
          </a:xfrm>
          <a:prstGeom prst="rect">
            <a:avLst/>
          </a:prstGeom>
          <a:gradFill flip="none" rotWithShape="1">
            <a:gsLst>
              <a:gs pos="14000">
                <a:srgbClr val="05CC93"/>
              </a:gs>
              <a:gs pos="39000">
                <a:srgbClr val="05CC93">
                  <a:alpha val="80353"/>
                </a:srgbClr>
              </a:gs>
              <a:gs pos="85000">
                <a:schemeClr val="bg1">
                  <a:alpha val="0"/>
                </a:schemeClr>
              </a:gs>
            </a:gsLst>
            <a:lin ang="2700000" scaled="1"/>
            <a:tileRect/>
          </a:gradFill>
        </p:spPr>
        <p:txBody>
          <a:bodyPr vert="horz" lIns="274320" tIns="274320" rIns="182880" bIns="182880" rtlCol="0">
            <a:noAutofit/>
          </a:bodyPr>
          <a:lstStyle>
            <a:lvl1pPr>
              <a:defRPr lang="en-US" sz="6000" dirty="0">
                <a:solidFill>
                  <a:schemeClr val="tx1"/>
                </a:solidFill>
                <a:latin typeface="HPE Graphik Light" pitchFamily="50" charset="0"/>
              </a:defRPr>
            </a:lvl1pPr>
            <a:lvl2pPr>
              <a:defRPr lang="en-US" dirty="0">
                <a:solidFill>
                  <a:sysClr val="windowText" lastClr="000000"/>
                </a:solidFill>
              </a:defRPr>
            </a:lvl2pPr>
          </a:lstStyle>
          <a:p>
            <a:pPr lvl="0">
              <a:lnSpc>
                <a:spcPct val="90000"/>
              </a:lnSpc>
            </a:pPr>
            <a:r>
              <a:rPr lang="en-US"/>
              <a:t>XX%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B5CDF8B-3973-89BC-B0C3-0099168110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3462615" cy="841248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pl-PL"/>
              <a:t>Title only and </a:t>
            </a:r>
            <a:r>
              <a:rPr lang="en-US"/>
              <a:t>Content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FA01E04-C64C-CB22-532A-A4E1A8B4F2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2101BA-46FD-36C0-99F1-408C742C972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D4E478-B9A3-DF0A-2BC5-A31D39827AD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">
            <a:extLst>
              <a:ext uri="{FF2B5EF4-FFF2-40B4-BE49-F238E27FC236}">
                <a16:creationId xmlns:a16="http://schemas.microsoft.com/office/drawing/2014/main" id="{9192AB6B-CCDC-C9ED-9B4D-B9B1DAE2FC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4905" y="1541418"/>
            <a:ext cx="3462614" cy="4729842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a Text Placeholder">
            <a:extLst>
              <a:ext uri="{FF2B5EF4-FFF2-40B4-BE49-F238E27FC236}">
                <a16:creationId xmlns:a16="http://schemas.microsoft.com/office/drawing/2014/main" id="{F65D24DA-8A81-CB0A-0EE3-30119C813D6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86788" y="5251730"/>
            <a:ext cx="3230307" cy="88538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467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DCBED57-19AD-707F-6DA8-8B468453C59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36B64A-A8CA-B4F8-1ED1-53DA9C290E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6662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2708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6B6084-0FE4-4048-3583-741AE0C95AE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1FA49D1-EA5E-4BDC-03EF-986C3CB3B92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46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58C0B22-3DC2-E652-E265-9A67A96AF6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0224"/>
            <a:ext cx="10098780" cy="847538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Big idea statement single l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1BA14BF-4CB3-F25B-80B2-5B579ED386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303F11-128A-0352-F6B9-03E0CB827C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3726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19023" y="4131540"/>
            <a:ext cx="5564990" cy="2034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904" y="4181475"/>
            <a:ext cx="5564990" cy="1984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64BF61-1E66-23EC-73D9-9D4373CF4EF7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4CAAFC-7C73-8B7A-5AEF-933F0A6EB31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4191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615"/>
            <a:ext cx="9416520" cy="2306296"/>
          </a:xfrm>
        </p:spPr>
        <p:txBody>
          <a:bodyPr/>
          <a:lstStyle>
            <a:lvl1pPr>
              <a:lnSpc>
                <a:spcPct val="85000"/>
              </a:lnSpc>
              <a:defRPr sz="5500" b="0" i="0">
                <a:latin typeface="HPE Graphik Light" pitchFamily="2" charset="77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C4FC89-98CE-BBFA-D898-76DCDE986A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42BF92-646B-24E1-901E-D19598CBBE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4569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0B2CDC00-5B37-BE1C-550C-F0774AF951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0224"/>
            <a:ext cx="10098780" cy="847538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Big idea statement single l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D7AC752-1063-D945-4038-6C1905F0CC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D784A7-2DD7-80EE-047F-D63021A326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020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4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8"/>
            <a:ext cx="9457413" cy="2304288"/>
          </a:xfrm>
        </p:spPr>
        <p:txBody>
          <a:bodyPr/>
          <a:lstStyle>
            <a:lvl1pPr>
              <a:lnSpc>
                <a:spcPct val="85000"/>
              </a:lnSpc>
              <a:defRPr sz="55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EAC085-14E9-0648-9F2A-D3AD872D976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CAEB46-BF54-E6AC-203B-DC671344E5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0254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5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47254" y="374650"/>
            <a:ext cx="4062159" cy="3553883"/>
          </a:xfrm>
        </p:spPr>
        <p:txBody>
          <a:bodyPr anchor="t"/>
          <a:lstStyle>
            <a:lvl1pPr>
              <a:lnSpc>
                <a:spcPct val="90000"/>
              </a:lnSpc>
              <a:defRPr sz="40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r>
              <a:rPr lang="en-US"/>
              <a:t>Big idea</a:t>
            </a:r>
            <a:br>
              <a:rPr lang="en-US"/>
            </a:br>
            <a:r>
              <a:rPr lang="en-US"/>
              <a:t>statement with</a:t>
            </a:r>
            <a:br>
              <a:rPr lang="en-US"/>
            </a:br>
            <a:r>
              <a:rPr lang="en-US"/>
              <a:t>multiple lines</a:t>
            </a:r>
            <a:br>
              <a:rPr lang="en-US"/>
            </a:br>
            <a:r>
              <a:rPr lang="en-US"/>
              <a:t>placed here</a:t>
            </a:r>
            <a:br>
              <a:rPr lang="en-US"/>
            </a:br>
            <a:r>
              <a:rPr lang="en-US"/>
              <a:t>lorem ipsum</a:t>
            </a:r>
            <a:br>
              <a:rPr lang="en-US"/>
            </a:br>
            <a:r>
              <a:rPr lang="en-US"/>
              <a:t>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58DE96-548B-9145-85BC-5AF5D72537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DAEC1C-FBEC-C5AF-4FAC-F67E7EBEFD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488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6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9"/>
            <a:ext cx="5676900" cy="3747262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0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pPr algn="l"/>
            <a:r>
              <a:rPr lang="en-US"/>
              <a:t>Big idea statement with multiple lines placed here</a:t>
            </a:r>
            <a:br>
              <a:rPr lang="en-US"/>
            </a:br>
            <a:r>
              <a:rPr lang="en-US"/>
              <a:t>lorem ipsum dolo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714F5D-2F9A-82E8-FC18-7CB26875487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A51A1E7-04E9-D26E-A5C3-735AE6D398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0772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peaker contact information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383433" y="3392391"/>
            <a:ext cx="8188525" cy="876300"/>
          </a:xfrm>
          <a:prstGeom prst="rect">
            <a:avLst/>
          </a:prstGeom>
        </p:spPr>
        <p:txBody>
          <a:bodyPr lIns="0" tIns="45720" rIns="0" bIns="4572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374903" y="2449576"/>
            <a:ext cx="8188525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endParaRPr lang="en-US"/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smtClean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F29566-5470-D3D8-0F61-D70F81B7E50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503219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Light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Element" descr="A green and grey gradient&#10;&#10;AI-generated content may be incorrect.">
            <a:extLst>
              <a:ext uri="{FF2B5EF4-FFF2-40B4-BE49-F238E27FC236}">
                <a16:creationId xmlns:a16="http://schemas.microsoft.com/office/drawing/2014/main" id="{DE9F31A4-7BA9-4409-0FF0-FF9FD06F3D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68339"/>
            <a:ext cx="10819505" cy="4114800"/>
          </a:xfrm>
          <a:prstGeom prst="rect">
            <a:avLst/>
          </a:prstGeom>
        </p:spPr>
      </p:pic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2085280-0B62-84D3-5783-A089C9A32C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2" y="3392391"/>
            <a:ext cx="9359900" cy="876300"/>
          </a:xfrm>
          <a:prstGeom prst="rect">
            <a:avLst/>
          </a:prstGeom>
        </p:spPr>
        <p:txBody>
          <a:bodyPr lIns="0" tIns="45720" rIns="0" bIns="4572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en-US"/>
              <a:t>Speaker contact informa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D5DFE24-7967-7D11-937E-63FD38BA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3" y="2449576"/>
            <a:ext cx="9359900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r>
              <a:rPr lang="en-US"/>
              <a:t> (</a:t>
            </a:r>
            <a:r>
              <a:rPr lang="pl-PL"/>
              <a:t>light</a:t>
            </a:r>
            <a:r>
              <a:rPr lang="en-US"/>
              <a:t> picture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66ECF0A-4D7E-CA75-6327-AA0FF80CF9A4}"/>
              </a:ext>
            </a:extLst>
          </p:cNvPr>
          <p:cNvSpPr txBox="1"/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smtClean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7BE8274-93CB-8904-C782-810A38A1D7B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3326770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Dark Picture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Element" descr="A green and grey gradient&#10;&#10;AI-generated content may be incorrect.">
            <a:extLst>
              <a:ext uri="{FF2B5EF4-FFF2-40B4-BE49-F238E27FC236}">
                <a16:creationId xmlns:a16="http://schemas.microsoft.com/office/drawing/2014/main" id="{547D85B3-8CD9-9846-DB0A-12364143C2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5000"/>
          </a:blip>
          <a:stretch>
            <a:fillRect/>
          </a:stretch>
        </p:blipFill>
        <p:spPr>
          <a:xfrm>
            <a:off x="0" y="1371600"/>
            <a:ext cx="10819505" cy="4114800"/>
          </a:xfrm>
          <a:prstGeom prst="rect">
            <a:avLst/>
          </a:prstGeom>
        </p:spPr>
      </p:pic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2085280-0B62-84D3-5783-A089C9A32C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3" y="3392391"/>
            <a:ext cx="9359900" cy="876300"/>
          </a:xfrm>
          <a:prstGeom prst="rect">
            <a:avLst/>
          </a:prstGeom>
        </p:spPr>
        <p:txBody>
          <a:bodyPr lIns="0" tIns="45720" rIns="0" bIns="4572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/>
              <a:t>Speaker contact informa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D5DFE24-7967-7D11-937E-63FD38BA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3" y="2449576"/>
            <a:ext cx="9359900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r>
              <a:rPr lang="en-US"/>
              <a:t> (dark pictur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183FCC9-DD19-ACEA-AAB1-9D15104F9E8D}"/>
              </a:ext>
            </a:extLst>
          </p:cNvPr>
          <p:cNvSpPr txBox="1"/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 b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b="0" smtClean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 b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48116B25-28AD-427B-1033-715BCFEF17E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 b="0">
                <a:solidFill>
                  <a:schemeClr val="bg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226676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91440" bIns="91440" anchor="b"/>
          <a:lstStyle>
            <a:lvl1pPr>
              <a:lnSpc>
                <a:spcPct val="8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6A0C1C-FFFA-74C0-3719-4E6EA4C7BF7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CAEB09-CC92-C4AF-AFC7-84F7B4C836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DD3862E9-4343-21F9-03D0-319C0D76EE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4907" y="384050"/>
            <a:ext cx="1019648" cy="300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695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0" bIns="9144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0" bIns="91440" anchor="b"/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DA1A1B8-63A0-5FF8-D94D-A64DF0037BD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51E08A-0EC1-9757-9EC4-3B8B8A2FC0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E04AA86-3390-5E05-F138-33B691BA0D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4907" y="388783"/>
            <a:ext cx="1019648" cy="291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221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090912" y="4184650"/>
            <a:ext cx="3684405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32908" y="4184650"/>
            <a:ext cx="3684404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904" y="4184650"/>
            <a:ext cx="3684404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 marL="540000" indent="0">
              <a:buNone/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CE0358-7593-FDA7-B0FB-FF0EC1E32039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87F768-80AD-E284-7CB0-AA45A8DB30A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6326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rgbClr val="292D3A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292D3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91440" bIns="91440" anchor="b"/>
          <a:lstStyle>
            <a:lvl1pPr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defRPr sz="4800">
                <a:solidFill>
                  <a:srgbClr val="292D3A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737513D-A3AB-F0E4-0CD1-28BE5E7621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D4E66E-34EA-3AC2-4F5C-196138F8CF1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720F7DE3-5012-50D0-0EE0-FBB950E366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4907" y="384050"/>
            <a:ext cx="1019648" cy="300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744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E461D8-0641-727D-F822-B1556D372F2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DC7940-ECD3-9B40-E568-B47ABAFA6AC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7948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6" y="5471598"/>
            <a:ext cx="8228011" cy="533400"/>
          </a:xfrm>
          <a:prstGeom prst="rect">
            <a:avLst/>
          </a:prstGeo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1386402"/>
            <a:ext cx="7518482" cy="4085196"/>
          </a:xfrm>
        </p:spPr>
        <p:txBody>
          <a:bodyPr lIns="91440" anchor="ctr" anchorCtr="0"/>
          <a:lstStyle>
            <a:lvl1pPr marL="219456" indent="-219456">
              <a:defRPr sz="4000" b="0" cap="none" baseline="0">
                <a:latin typeface="HPE Graphik Light" pitchFamily="50" charset="0"/>
                <a:cs typeface="HPE Graphik Light" pitchFamily="50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F2754E-094F-7C73-88B9-FF823BF8303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CDFAF2-F03B-8CB9-A43F-2C8C54F552D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2151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269A3E8D-DCFB-4D37-86BB-56632B0912B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5100" y="995363"/>
            <a:ext cx="7844500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1E92FAC-B699-43F5-B87D-2D8B714080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38747A7-25DE-48D8-8D31-0F3DF66ADF9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9709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urp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100945" y="1533798"/>
            <a:ext cx="7707937" cy="4737462"/>
          </a:xfrm>
          <a:prstGeom prst="rect">
            <a:avLst/>
          </a:prstGeom>
        </p:spPr>
        <p:txBody>
          <a:bodyPr lIns="0" tIns="45720" rIns="0" bIns="45720" anchor="ctr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374905" y="1541418"/>
            <a:ext cx="3393532" cy="4729842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rgbClr val="292D3A"/>
                </a:solidFill>
              </a:defRPr>
            </a:lvl1pPr>
          </a:lstStyle>
          <a:p>
            <a:r>
              <a:rPr lang="en-US"/>
              <a:t>Click to Add multi-Line Title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7B045ACD-D682-9F85-8976-3DE690571A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 dirty="0">
                <a:solidFill>
                  <a:srgbClr val="292D3A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0C3246-51E8-2C6D-91C1-DC5E683C70B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66BA11A-FF4F-0B31-22B7-B062F5B3F9B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092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Picture and Da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3D244D9-326C-937C-4B8E-43F52273E32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2"/>
          </p:nvPr>
        </p:nvSpPr>
        <p:spPr>
          <a:xfrm>
            <a:off x="4210050" y="0"/>
            <a:ext cx="798195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Number Text Placeholder 13">
            <a:extLst>
              <a:ext uri="{FF2B5EF4-FFF2-40B4-BE49-F238E27FC236}">
                <a16:creationId xmlns:a16="http://schemas.microsoft.com/office/drawing/2014/main" id="{C8956EBD-8393-95D1-85FB-895F28E855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94255" y="4073237"/>
            <a:ext cx="3897745" cy="2784764"/>
          </a:xfrm>
          <a:prstGeom prst="rect">
            <a:avLst/>
          </a:prstGeom>
          <a:gradFill flip="none" rotWithShape="1">
            <a:gsLst>
              <a:gs pos="14000">
                <a:srgbClr val="05CC93"/>
              </a:gs>
              <a:gs pos="39000">
                <a:srgbClr val="05CC93">
                  <a:alpha val="80353"/>
                </a:srgbClr>
              </a:gs>
              <a:gs pos="85000">
                <a:schemeClr val="bg1">
                  <a:alpha val="0"/>
                </a:schemeClr>
              </a:gs>
            </a:gsLst>
            <a:lin ang="2700000" scaled="1"/>
            <a:tileRect/>
          </a:gradFill>
        </p:spPr>
        <p:txBody>
          <a:bodyPr vert="horz" lIns="274320" tIns="274320" rIns="182880" bIns="182880" rtlCol="0">
            <a:noAutofit/>
          </a:bodyPr>
          <a:lstStyle>
            <a:lvl1pPr>
              <a:defRPr lang="en-US" sz="6000" dirty="0">
                <a:solidFill>
                  <a:schemeClr val="tx1"/>
                </a:solidFill>
                <a:latin typeface="HPE Graphik Light" pitchFamily="50" charset="0"/>
              </a:defRPr>
            </a:lvl1pPr>
            <a:lvl2pPr>
              <a:defRPr lang="en-US" dirty="0">
                <a:solidFill>
                  <a:sysClr val="windowText" lastClr="000000"/>
                </a:solidFill>
              </a:defRPr>
            </a:lvl2pPr>
          </a:lstStyle>
          <a:p>
            <a:pPr lvl="0">
              <a:lnSpc>
                <a:spcPct val="90000"/>
              </a:lnSpc>
            </a:pPr>
            <a:r>
              <a:rPr lang="en-US"/>
              <a:t>XX%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B5CDF8B-3973-89BC-B0C3-0099168110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3462615" cy="841248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pl-PL"/>
              <a:t>Title only and </a:t>
            </a:r>
            <a:r>
              <a:rPr lang="en-US"/>
              <a:t>Content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FA01E04-C64C-CB22-532A-A4E1A8B4F2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2101BA-46FD-36C0-99F1-408C742C972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D4E478-B9A3-DF0A-2BC5-A31D39827AD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">
            <a:extLst>
              <a:ext uri="{FF2B5EF4-FFF2-40B4-BE49-F238E27FC236}">
                <a16:creationId xmlns:a16="http://schemas.microsoft.com/office/drawing/2014/main" id="{9192AB6B-CCDC-C9ED-9B4D-B9B1DAE2FC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4905" y="1541418"/>
            <a:ext cx="3462614" cy="4729842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a Text Placeholder">
            <a:extLst>
              <a:ext uri="{FF2B5EF4-FFF2-40B4-BE49-F238E27FC236}">
                <a16:creationId xmlns:a16="http://schemas.microsoft.com/office/drawing/2014/main" id="{F65D24DA-8A81-CB0A-0EE3-30119C813D6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86788" y="5251730"/>
            <a:ext cx="3230307" cy="88538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9566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DCBED57-19AD-707F-6DA8-8B468453C59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36B64A-A8CA-B4F8-1ED1-53DA9C290E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412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5965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 with Light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Element">
            <a:extLst>
              <a:ext uri="{FF2B5EF4-FFF2-40B4-BE49-F238E27FC236}">
                <a16:creationId xmlns:a16="http://schemas.microsoft.com/office/drawing/2014/main" id="{599C7368-45FB-FA9F-C233-DCDE9E9A3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518948"/>
            <a:ext cx="10934113" cy="53390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3791"/>
            <a:ext cx="9144000" cy="1577109"/>
          </a:xfrm>
        </p:spPr>
        <p:txBody>
          <a:bodyPr lIns="0" tIns="46990" rIns="0" bIns="4699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4 (with </a:t>
            </a:r>
            <a:r>
              <a:rPr lang="pl-PL"/>
              <a:t>light </a:t>
            </a:r>
            <a:r>
              <a:rPr lang="en-US"/>
              <a:t>picture)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D5F3A39-BBD4-AFEB-B4E7-8CA166BB30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C55DFAC-A001-72E6-262A-D060D79E0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B627C3-C1BB-9558-7C73-E25CB3B6E8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BA235C-CFDA-EC42-8041-30F0839937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E8EFE5D-1C0B-203B-2788-D4F44A09CA0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6897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36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6B6084-0FE4-4048-3583-741AE0C95AE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1FA49D1-EA5E-4BDC-03EF-986C3CB3B92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535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58C0B22-3DC2-E652-E265-9A67A96AF6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0224"/>
            <a:ext cx="10098780" cy="847538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Big idea statement single l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1BA14BF-4CB3-F25B-80B2-5B579ED386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303F11-128A-0352-F6B9-03E0CB827C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158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615"/>
            <a:ext cx="9416520" cy="2306296"/>
          </a:xfrm>
        </p:spPr>
        <p:txBody>
          <a:bodyPr/>
          <a:lstStyle>
            <a:lvl1pPr>
              <a:lnSpc>
                <a:spcPct val="85000"/>
              </a:lnSpc>
              <a:defRPr sz="5500" b="0" i="0">
                <a:latin typeface="HPE Graphik Light" pitchFamily="2" charset="77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C4FC89-98CE-BBFA-D898-76DCDE986A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42BF92-646B-24E1-901E-D19598CBBE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467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0B2CDC00-5B37-BE1C-550C-F0774AF951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0224"/>
            <a:ext cx="10098780" cy="847538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Big idea statement single l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D7AC752-1063-D945-4038-6C1905F0CC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D784A7-2DD7-80EE-047F-D63021A326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5522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4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8"/>
            <a:ext cx="9457413" cy="2304288"/>
          </a:xfrm>
        </p:spPr>
        <p:txBody>
          <a:bodyPr/>
          <a:lstStyle>
            <a:lvl1pPr>
              <a:lnSpc>
                <a:spcPct val="85000"/>
              </a:lnSpc>
              <a:defRPr sz="55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EAC085-14E9-0648-9F2A-D3AD872D976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CAEB46-BF54-E6AC-203B-DC671344E5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871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5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47254" y="374650"/>
            <a:ext cx="4062159" cy="3553883"/>
          </a:xfrm>
        </p:spPr>
        <p:txBody>
          <a:bodyPr anchor="t"/>
          <a:lstStyle>
            <a:lvl1pPr>
              <a:lnSpc>
                <a:spcPct val="90000"/>
              </a:lnSpc>
              <a:defRPr sz="40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r>
              <a:rPr lang="en-US"/>
              <a:t>Big idea</a:t>
            </a:r>
            <a:br>
              <a:rPr lang="en-US"/>
            </a:br>
            <a:r>
              <a:rPr lang="en-US"/>
              <a:t>statement with</a:t>
            </a:r>
            <a:br>
              <a:rPr lang="en-US"/>
            </a:br>
            <a:r>
              <a:rPr lang="en-US"/>
              <a:t>multiple lines</a:t>
            </a:r>
            <a:br>
              <a:rPr lang="en-US"/>
            </a:br>
            <a:r>
              <a:rPr lang="en-US"/>
              <a:t>placed here</a:t>
            </a:r>
            <a:br>
              <a:rPr lang="en-US"/>
            </a:br>
            <a:r>
              <a:rPr lang="en-US"/>
              <a:t>lorem ipsum</a:t>
            </a:r>
            <a:br>
              <a:rPr lang="en-US"/>
            </a:br>
            <a:r>
              <a:rPr lang="en-US"/>
              <a:t>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58DE96-548B-9145-85BC-5AF5D72537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DAEC1C-FBEC-C5AF-4FAC-F67E7EBEFD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1522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6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9"/>
            <a:ext cx="5676900" cy="3747262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0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pPr algn="l"/>
            <a:r>
              <a:rPr lang="en-US"/>
              <a:t>Big idea statement with multiple lines placed here</a:t>
            </a:r>
            <a:br>
              <a:rPr lang="en-US"/>
            </a:br>
            <a:r>
              <a:rPr lang="en-US"/>
              <a:t>lorem ipsum dolo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714F5D-2F9A-82E8-FC18-7CB26875487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A51A1E7-04E9-D26E-A5C3-735AE6D398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7238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peaker contact information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383433" y="3392391"/>
            <a:ext cx="8188525" cy="876300"/>
          </a:xfrm>
          <a:prstGeom prst="rect">
            <a:avLst/>
          </a:prstGeom>
        </p:spPr>
        <p:txBody>
          <a:bodyPr lIns="0" tIns="45720" rIns="0" bIns="4572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374903" y="2449576"/>
            <a:ext cx="8188525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endParaRPr lang="en-US"/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smtClean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F29566-5470-D3D8-0F61-D70F81B7E50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3153089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Light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Element" descr="A green and grey gradient&#10;&#10;AI-generated content may be incorrect.">
            <a:extLst>
              <a:ext uri="{FF2B5EF4-FFF2-40B4-BE49-F238E27FC236}">
                <a16:creationId xmlns:a16="http://schemas.microsoft.com/office/drawing/2014/main" id="{DE9F31A4-7BA9-4409-0FF0-FF9FD06F3D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68339"/>
            <a:ext cx="10819505" cy="4114800"/>
          </a:xfrm>
          <a:prstGeom prst="rect">
            <a:avLst/>
          </a:prstGeom>
        </p:spPr>
      </p:pic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2085280-0B62-84D3-5783-A089C9A32C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2" y="3392391"/>
            <a:ext cx="9359900" cy="876300"/>
          </a:xfrm>
          <a:prstGeom prst="rect">
            <a:avLst/>
          </a:prstGeom>
        </p:spPr>
        <p:txBody>
          <a:bodyPr lIns="0" tIns="45720" rIns="0" bIns="4572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en-US"/>
              <a:t>Speaker contact informa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D5DFE24-7967-7D11-937E-63FD38BA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3" y="2449576"/>
            <a:ext cx="9359900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r>
              <a:rPr lang="en-US"/>
              <a:t> (</a:t>
            </a:r>
            <a:r>
              <a:rPr lang="pl-PL"/>
              <a:t>light</a:t>
            </a:r>
            <a:r>
              <a:rPr lang="en-US"/>
              <a:t> picture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66ECF0A-4D7E-CA75-6327-AA0FF80CF9A4}"/>
              </a:ext>
            </a:extLst>
          </p:cNvPr>
          <p:cNvSpPr txBox="1"/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smtClean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7BE8274-93CB-8904-C782-810A38A1D7B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98034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Dark Picture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Element" descr="A green and grey gradient&#10;&#10;AI-generated content may be incorrect.">
            <a:extLst>
              <a:ext uri="{FF2B5EF4-FFF2-40B4-BE49-F238E27FC236}">
                <a16:creationId xmlns:a16="http://schemas.microsoft.com/office/drawing/2014/main" id="{547D85B3-8CD9-9846-DB0A-12364143C2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5000"/>
          </a:blip>
          <a:stretch>
            <a:fillRect/>
          </a:stretch>
        </p:blipFill>
        <p:spPr>
          <a:xfrm>
            <a:off x="0" y="1371600"/>
            <a:ext cx="10819505" cy="4114800"/>
          </a:xfrm>
          <a:prstGeom prst="rect">
            <a:avLst/>
          </a:prstGeom>
        </p:spPr>
      </p:pic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2085280-0B62-84D3-5783-A089C9A32C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433" y="3392391"/>
            <a:ext cx="9359900" cy="876300"/>
          </a:xfrm>
          <a:prstGeom prst="rect">
            <a:avLst/>
          </a:prstGeom>
        </p:spPr>
        <p:txBody>
          <a:bodyPr lIns="0" tIns="45720" rIns="0" bIns="4572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/>
              <a:t>Speaker contact informa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D5DFE24-7967-7D11-937E-63FD38BA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3" y="2449576"/>
            <a:ext cx="9359900" cy="875899"/>
          </a:xfrm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</a:t>
            </a:r>
            <a:r>
              <a:rPr lang="pl-PL"/>
              <a:t>Y</a:t>
            </a:r>
            <a:r>
              <a:rPr lang="en-US" err="1"/>
              <a:t>ou</a:t>
            </a:r>
            <a:r>
              <a:rPr lang="en-US"/>
              <a:t> (dark pictur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183FCC9-DD19-ACEA-AAB1-9D15104F9E8D}"/>
              </a:ext>
            </a:extLst>
          </p:cNvPr>
          <p:cNvSpPr txBox="1"/>
          <p:nvPr userDrawn="1"/>
        </p:nvSpPr>
        <p:spPr>
          <a:xfrm>
            <a:off x="5092816" y="6418471"/>
            <a:ext cx="6717823" cy="1384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900" b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900" b="0" smtClean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900" b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48116B25-28AD-427B-1033-715BCFEF17E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592973" y="6192760"/>
            <a:ext cx="6217666" cy="190500"/>
          </a:xfrm>
        </p:spPr>
        <p:txBody>
          <a:bodyPr/>
          <a:lstStyle>
            <a:lvl1pPr>
              <a:defRPr sz="900" b="0">
                <a:solidFill>
                  <a:schemeClr val="bg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3896271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 with Dark Picture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Element">
            <a:extLst>
              <a:ext uri="{FF2B5EF4-FFF2-40B4-BE49-F238E27FC236}">
                <a16:creationId xmlns:a16="http://schemas.microsoft.com/office/drawing/2014/main" id="{599C7368-45FB-FA9F-C233-DCDE9E9A3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518948"/>
            <a:ext cx="10934113" cy="53390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3791"/>
            <a:ext cx="9144000" cy="1577109"/>
          </a:xfrm>
        </p:spPr>
        <p:txBody>
          <a:bodyPr lIns="0" tIns="46990" rIns="0" bIns="4699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over 4 (with dark picture)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D5F3A39-BBD4-AFEB-B4E7-8CA166BB30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C55DFAC-A001-72E6-262A-D060D79E0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B627C3-C1BB-9558-7C73-E25CB3B6E8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BA235C-CFDA-EC42-8041-30F0839937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5AD027A1-F5B6-22EB-1410-56C7B528913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4907" y="388783"/>
            <a:ext cx="1019648" cy="291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617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36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91440" bIns="91440" anchor="b"/>
          <a:lstStyle>
            <a:lvl1pPr>
              <a:lnSpc>
                <a:spcPct val="8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6A0C1C-FFFA-74C0-3719-4E6EA4C7BF7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CAEB09-CC92-C4AF-AFC7-84F7B4C836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DD3862E9-4343-21F9-03D0-319C0D76EE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4907" y="384050"/>
            <a:ext cx="1019648" cy="300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8214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0" bIns="9144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0" bIns="91440" anchor="b"/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DA1A1B8-63A0-5FF8-D94D-A64DF0037BD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51E08A-0EC1-9757-9EC4-3B8B8A2FC0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E04AA86-3390-5E05-F138-33B691BA0D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4907" y="388783"/>
            <a:ext cx="1019648" cy="291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372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4428490"/>
            <a:ext cx="5489578" cy="339214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rgbClr val="292D3A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74904" y="3959860"/>
            <a:ext cx="8229600" cy="438912"/>
          </a:xfrm>
          <a:prstGeom prst="rect">
            <a:avLst/>
          </a:prstGeom>
        </p:spPr>
        <p:txBody>
          <a:bodyPr lIns="0" tIns="91440" rIns="91440" bIns="9144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292D3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374904" y="1869197"/>
            <a:ext cx="11423555" cy="1905000"/>
          </a:xfrm>
        </p:spPr>
        <p:txBody>
          <a:bodyPr lIns="0" tIns="91440" rIns="91440" bIns="91440" anchor="b"/>
          <a:lstStyle>
            <a:lvl1pPr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defRPr sz="4800">
                <a:solidFill>
                  <a:srgbClr val="292D3A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737513D-A3AB-F0E4-0CD1-28BE5E7621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D4E66E-34EA-3AC2-4F5C-196138F8CF1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720F7DE3-5012-50D0-0EE0-FBB950E366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4907" y="384050"/>
            <a:ext cx="1019648" cy="300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89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E461D8-0641-727D-F822-B1556D372F2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DC7940-ECD3-9B40-E568-B47ABAFA6AC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0914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6" y="5471598"/>
            <a:ext cx="8228011" cy="533400"/>
          </a:xfrm>
          <a:prstGeom prst="rect">
            <a:avLst/>
          </a:prstGeo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1386402"/>
            <a:ext cx="7518482" cy="4085196"/>
          </a:xfrm>
        </p:spPr>
        <p:txBody>
          <a:bodyPr lIns="91440" anchor="ctr" anchorCtr="0"/>
          <a:lstStyle>
            <a:lvl1pPr marL="219456" indent="-219456">
              <a:defRPr sz="4000" b="0" cap="none" baseline="0">
                <a:latin typeface="HPE Graphik Light" pitchFamily="50" charset="0"/>
                <a:cs typeface="HPE Graphik Light" pitchFamily="50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F2754E-094F-7C73-88B9-FF823BF8303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CDFAF2-F03B-8CB9-A43F-2C8C54F552D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8542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DBE2E1BB-CE0A-BA4E-62F3-C11C72B14B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4EC4B5E-61C1-0327-AC26-FD6B85B7F0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F6E81DF5-9D1C-2874-F10C-40090BD539D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34628090-D045-413C-E6D5-4DA95E1738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A5FBD065-FB15-F23A-3BCC-D33B8BBA2BA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ECC81EA-9F85-54A6-3C45-4F239CC09D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0621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4C7E62B9-7B57-1325-41F8-B563932F32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D4869DF-7C8C-6D6D-CBDF-4F57DD5DFF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2FBDD54F-6F02-5565-BE03-576E378CDA1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11" name="Subtitle 2">
            <a:extLst>
              <a:ext uri="{FF2B5EF4-FFF2-40B4-BE49-F238E27FC236}">
                <a16:creationId xmlns:a16="http://schemas.microsoft.com/office/drawing/2014/main" id="{A6541683-6FD5-D019-008C-CBEFA0DFC1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632F369-11D4-00F5-EE97-45F7C25F1A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55DBC55-08BE-7E3C-3F51-BE594342437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630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28D69DFE-88C2-F477-D6FA-5A27957CC5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6E6D92-7C0F-2881-3B5C-2BB90CF3E4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6047C21-8C30-FF57-32D9-77CA97A7962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  <p:sp>
        <p:nvSpPr>
          <p:cNvPr id="2" name="Subtitle 2">
            <a:extLst>
              <a:ext uri="{FF2B5EF4-FFF2-40B4-BE49-F238E27FC236}">
                <a16:creationId xmlns:a16="http://schemas.microsoft.com/office/drawing/2014/main" id="{3D4294F3-2CAC-36D6-C4BA-7C426967493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903" y="3424765"/>
            <a:ext cx="10012359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30642D83-CB25-4027-6475-F7C414AF28A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10012358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43C3471-2479-E641-5030-4A30DEFD0B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3" y="1813791"/>
            <a:ext cx="10012359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</a:t>
            </a:r>
            <a:r>
              <a:rPr lang="pl-PL"/>
              <a:t>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058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 with Light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Element">
            <a:extLst>
              <a:ext uri="{FF2B5EF4-FFF2-40B4-BE49-F238E27FC236}">
                <a16:creationId xmlns:a16="http://schemas.microsoft.com/office/drawing/2014/main" id="{599C7368-45FB-FA9F-C233-DCDE9E9A3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518948"/>
            <a:ext cx="10934113" cy="53390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3791"/>
            <a:ext cx="9144000" cy="1577109"/>
          </a:xfrm>
        </p:spPr>
        <p:txBody>
          <a:bodyPr lIns="0" tIns="46990" rIns="0" bIns="4699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4 (with </a:t>
            </a:r>
            <a:r>
              <a:rPr lang="pl-PL"/>
              <a:t>light </a:t>
            </a:r>
            <a:r>
              <a:rPr lang="en-US"/>
              <a:t>picture)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D5F3A39-BBD4-AFEB-B4E7-8CA166BB30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C55DFAC-A001-72E6-262A-D060D79E0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B627C3-C1BB-9558-7C73-E25CB3B6E8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BA235C-CFDA-EC42-8041-30F0839937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E8EFE5D-1C0B-203B-2788-D4F44A09CA0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360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36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4 with Dark Picture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Element">
            <a:extLst>
              <a:ext uri="{FF2B5EF4-FFF2-40B4-BE49-F238E27FC236}">
                <a16:creationId xmlns:a16="http://schemas.microsoft.com/office/drawing/2014/main" id="{599C7368-45FB-FA9F-C233-DCDE9E9A3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518948"/>
            <a:ext cx="10934113" cy="53390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4904" y="1813791"/>
            <a:ext cx="9144000" cy="1577109"/>
          </a:xfrm>
        </p:spPr>
        <p:txBody>
          <a:bodyPr lIns="0" tIns="46990" rIns="0" bIns="4699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over 4 (with dark picture)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D5F3A39-BBD4-AFEB-B4E7-8CA166BB30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0972" y="3424765"/>
            <a:ext cx="9144000" cy="41563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C55DFAC-A001-72E6-262A-D060D79E0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3840400"/>
            <a:ext cx="91440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B627C3-C1BB-9558-7C73-E25CB3B6E8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BA235C-CFDA-EC42-8041-30F0839937F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5AD027A1-F5B6-22EB-1410-56C7B528913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4907" y="388783"/>
            <a:ext cx="1019648" cy="291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295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36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5 with Pictur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BD4F32D-3591-565F-ADF6-7D7D28EF243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2974206"/>
            <a:ext cx="9206753" cy="388379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Image placehol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38" y="1178790"/>
            <a:ext cx="9144000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5 (with picture)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A1730018-7DE4-8985-2868-18B01444A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55099" y="2887955"/>
            <a:ext cx="2485505" cy="10268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 maximum three lin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BD8F41-4872-8861-CBF3-EDAA068B0DC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55098" y="3924300"/>
            <a:ext cx="2485506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585DF01E-4205-00B8-31D5-62F133D646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55097" y="6155690"/>
            <a:ext cx="1834441" cy="450628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A8DF9B4-8078-C49B-C422-13DD4F863D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F4DA0103-EE8D-10C5-8FF2-02FCBAFCB9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777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5 with Pictur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BD4F32D-3591-565F-ADF6-7D7D28EF243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2974206"/>
            <a:ext cx="9206753" cy="388379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Image placehol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38" y="1178790"/>
            <a:ext cx="9144000" cy="1577109"/>
          </a:xfrm>
        </p:spPr>
        <p:txBody>
          <a:bodyPr lIns="0" tIns="46990" rIns="0" bIns="46990" anchor="b"/>
          <a:lstStyle>
            <a:lvl1pPr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5 (with picture)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A1730018-7DE4-8985-2868-18B01444A6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55099" y="2887955"/>
            <a:ext cx="2485505" cy="10268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 maximum three lin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BD8F41-4872-8861-CBF3-EDAA068B0DC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55098" y="3924300"/>
            <a:ext cx="2485506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585DF01E-4205-00B8-31D5-62F133D646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55097" y="6155690"/>
            <a:ext cx="1834441" cy="450628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A8DF9B4-8078-C49B-C422-13DD4F863D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F4DA0103-EE8D-10C5-8FF2-02FCBAFCB9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74907" y="384049"/>
            <a:ext cx="102413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49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6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Element image" descr="A black and white rectangle with a green and black rectangle&#10;&#10;AI-generated content may be incorrect.">
            <a:extLst>
              <a:ext uri="{FF2B5EF4-FFF2-40B4-BE49-F238E27FC236}">
                <a16:creationId xmlns:a16="http://schemas.microsoft.com/office/drawing/2014/main" id="{557B342C-B686-916C-8D1E-533F53E2C2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68" y="0"/>
            <a:ext cx="12187263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912" y="1127322"/>
            <a:ext cx="4465637" cy="2951480"/>
          </a:xfrm>
        </p:spPr>
        <p:txBody>
          <a:bodyPr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6 </a:t>
            </a:r>
            <a:br>
              <a:rPr lang="en-US"/>
            </a:br>
            <a:r>
              <a:rPr lang="en-US"/>
              <a:t>(with picture)</a:t>
            </a:r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90E4737B-80BB-A453-9EC0-40344848478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A6F5877F-D5C2-0CC0-F815-A40F949BFE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B4B6A315-F84A-43CB-2612-0093AD26A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650" y="4101316"/>
            <a:ext cx="4465638" cy="680234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br>
              <a:rPr lang="en-US"/>
            </a:br>
            <a:r>
              <a:rPr lang="en-US"/>
              <a:t>over 2 lines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1E6999B2-BD34-3D8A-995A-23314865E5B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7" y="4838706"/>
            <a:ext cx="4465637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pic>
        <p:nvPicPr>
          <p:cNvPr id="12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D60D540B-8356-03C5-A3D0-DD92935A31B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525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1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F33158-1754-653B-F011-1E6EDDA861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E9BAFD-B89D-1DD6-6FAB-B033012DF6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3024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2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86C1509-153F-BD27-73E3-F87006A3EC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3318031-32A0-57F5-89E3-BD97D3EE47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2439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3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3C35D8-793D-910E-958E-12734E9433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0ABB62-7FB2-A10A-FB79-640977444A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904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lement Image">
            <a:extLst>
              <a:ext uri="{FF2B5EF4-FFF2-40B4-BE49-F238E27FC236}">
                <a16:creationId xmlns:a16="http://schemas.microsoft.com/office/drawing/2014/main" id="{1A711596-B981-E895-2147-80AF02FC6F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96" t="654" r="1416" b="120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951F0D95-92C8-F614-A840-CCF636DDBE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5" y="393193"/>
            <a:ext cx="11433977" cy="946080"/>
          </a:xfrm>
        </p:spPr>
        <p:txBody>
          <a:bodyPr lIns="0" tIns="0" rIns="91440" bIns="0"/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6000" b="0">
                <a:solidFill>
                  <a:schemeClr val="tx1"/>
                </a:solidFill>
                <a:latin typeface="HPE Graphik Light" pitchFamily="50" charset="0"/>
              </a:defRPr>
            </a:lvl1pPr>
          </a:lstStyle>
          <a:p>
            <a:r>
              <a:rPr lang="en-US"/>
              <a:t>Divider 4 (with picture)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6D7B23CD-0964-2C4F-2645-F616DF81D0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C3AD242-1EDC-575F-5C91-FD24DABDDF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69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1165860"/>
            <a:ext cx="11404800" cy="5097600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B6C3F6-7864-1614-6433-B6E9205341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A371ED-2734-3586-C69F-E31DDE6FB9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726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1541417"/>
            <a:ext cx="11433977" cy="4730795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42628" cy="775846"/>
          </a:xfr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D62CB2E-81D7-48A5-A15B-340BF48D21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268E2A-81AF-75F2-036F-19A286FA83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1614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74904" y="1541417"/>
            <a:ext cx="11433977" cy="4730795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2499906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95F41DF-93F3-CDC9-2F09-5645DCF4B1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33978" cy="369486"/>
          </a:xfrm>
          <a:prstGeom prst="rect">
            <a:avLst/>
          </a:prstGeom>
        </p:spPr>
        <p:txBody>
          <a:bodyPr t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B1FDE8-1311-7248-18A8-D4800084C25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A4E9F6-3410-0A4E-80C1-A550B6D95A6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9">
            <a:extLst>
              <a:ext uri="{FF2B5EF4-FFF2-40B4-BE49-F238E27FC236}">
                <a16:creationId xmlns:a16="http://schemas.microsoft.com/office/drawing/2014/main" id="{8228B93E-9AAB-D047-1D10-C52AC4536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bIns="0" anchor="t"/>
          <a:lstStyle>
            <a:lvl1pPr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Content Placeholder">
            <a:extLst>
              <a:ext uri="{FF2B5EF4-FFF2-40B4-BE49-F238E27FC236}">
                <a16:creationId xmlns:a16="http://schemas.microsoft.com/office/drawing/2014/main" id="{E0C985E2-323F-7805-FB56-916EC03BF8F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4904" y="1920874"/>
            <a:ext cx="11433977" cy="4358006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557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6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Element image" descr="A black and white rectangle with a green and black rectangle&#10;&#10;AI-generated content may be incorrect.">
            <a:extLst>
              <a:ext uri="{FF2B5EF4-FFF2-40B4-BE49-F238E27FC236}">
                <a16:creationId xmlns:a16="http://schemas.microsoft.com/office/drawing/2014/main" id="{557B342C-B686-916C-8D1E-533F53E2C2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68" y="0"/>
            <a:ext cx="12187263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18B38-66E2-1853-9640-52CA013779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912" y="1127322"/>
            <a:ext cx="4465637" cy="2951480"/>
          </a:xfrm>
        </p:spPr>
        <p:txBody>
          <a:bodyPr tIns="46990" rIns="0" bIns="46990"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over 6 </a:t>
            </a:r>
            <a:br>
              <a:rPr lang="en-US"/>
            </a:br>
            <a:r>
              <a:rPr lang="en-US"/>
              <a:t>(with picture)</a:t>
            </a:r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90E4737B-80BB-A453-9EC0-40344848478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A6F5877F-D5C2-0CC0-F815-A40F949BFE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B4B6A315-F84A-43CB-2612-0093AD26A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4650" y="4101316"/>
            <a:ext cx="4465638" cy="680234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br>
              <a:rPr lang="en-US"/>
            </a:br>
            <a:r>
              <a:rPr lang="en-US"/>
              <a:t>over 2 lines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1E6999B2-BD34-3D8A-995A-23314865E5B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7" y="4838706"/>
            <a:ext cx="4465637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Date</a:t>
            </a:r>
            <a:endParaRPr lang="en-PL"/>
          </a:p>
        </p:txBody>
      </p:sp>
      <p:pic>
        <p:nvPicPr>
          <p:cNvPr id="12" name="Logo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D60D540B-8356-03C5-A3D0-DD92935A31B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4907" y="384049"/>
            <a:ext cx="1024130" cy="292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098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2160">
          <p15:clr>
            <a:srgbClr val="FBAE40"/>
          </p15:clr>
        </p15:guide>
        <p15:guide id="8" pos="384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4904" y="1920874"/>
            <a:ext cx="11433977" cy="4358006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374903" y="1526183"/>
            <a:ext cx="11347170" cy="369486"/>
          </a:xfrm>
          <a:prstGeom prst="rect">
            <a:avLst/>
          </a:prstGeom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lIns="0" tIns="0" rIns="91440" bIns="4572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4186561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1165860"/>
            <a:ext cx="5523992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165860"/>
            <a:ext cx="5523992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BAE68A-27A7-6C3D-4142-7F3922D49B3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444F98-C525-C008-1B46-B4DCF8808D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4243D16-78B0-BF7E-7EE9-B51138BA7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1764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541417"/>
            <a:ext cx="5523992" cy="4729841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538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541418"/>
            <a:ext cx="5523992" cy="473746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541418"/>
            <a:ext cx="5523992" cy="473746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7097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888133"/>
            <a:ext cx="5523992" cy="4383126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888132"/>
            <a:ext cx="5523992" cy="4383127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33978" cy="369486"/>
          </a:xfrm>
          <a:prstGeom prst="rect">
            <a:avLst/>
          </a:prstGeom>
        </p:spPr>
        <p:txBody>
          <a:bodyPr vert="horz" lIns="0" tIns="0" rIns="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74DB35-5793-0F87-263A-3DF2B2C45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1D58A9-ACB6-18F7-EA6C-D39468541C2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93A83-2C34-7CA2-21A7-C377B3F9D1C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226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HPE Graphik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74903" y="1129022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260021" y="1541418"/>
            <a:ext cx="5523992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HPE Graphik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60399" y="1129022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rgbClr val="292D3A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21F8B9-A226-C863-E39B-92687650DAA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2C88C5-7051-4300-5EDA-B8F76B6C396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479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60021" y="1888133"/>
            <a:ext cx="5523992" cy="4390746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0021" y="1473135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4904" y="1888132"/>
            <a:ext cx="5523992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9144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904" y="1473135"/>
            <a:ext cx="5523992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02BBC2-BD44-DEAF-58E4-737CC53BBBD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DD5D5E-5ECA-A659-E4D1-059428798A6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0720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165860"/>
            <a:ext cx="3628711" cy="510063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7EAFD6-415C-88F0-6EE5-4D5D4B8A954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81A8C7-DBC3-6CA7-393A-B76EB01BD15A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877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 and 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 anchorCtr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1CB3F7-BD80-2E75-509D-9F8010556A9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99F5B5-25C5-2F5D-8947-057651169F8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E933D73-FF2E-5038-2928-57B052E6DEC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5CFBF7C-9A9D-283B-3040-62F4E8BBA2B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0B5786B1-1D78-07AE-99E2-9ACA6A302D5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63205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5285DB-111F-371C-CCBA-1DD3F3E0D33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8A4F95-E980-ECB5-112F-5B4A2D0D7706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277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1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F33158-1754-653B-F011-1E6EDDA861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E9BAFD-B89D-1DD6-6FAB-B033012DF6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857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, Subtitle and 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60BF6E-DA8E-1A7C-AB98-3EE8B0248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6" cy="369486"/>
          </a:xfrm>
          <a:prstGeom prst="rect">
            <a:avLst/>
          </a:prstGeom>
        </p:spPr>
        <p:txBody>
          <a:bodyPr tIns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subhead placeholder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93031B0-6E1E-B6BC-F704-43FCCED1C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6B5E63-2A42-E758-4078-93602512C48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BBC2BF-0D27-EE97-15E2-3172489A9EF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E1F0C114-EFF4-4AC2-300D-DD8958809D0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896841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B155FBF-4BEC-C1E1-CB2C-2ED0CF71CC1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15D01BB8-727D-8CA2-AA4D-A23CC782B59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93065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86492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186492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7634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276344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74904" y="1541418"/>
            <a:ext cx="3631039" cy="4729842"/>
          </a:xfrm>
          <a:prstGeom prst="rect">
            <a:avLst/>
          </a:prstGeom>
          <a:ln>
            <a:noFill/>
            <a:miter lim="800000"/>
          </a:ln>
        </p:spPr>
        <p:txBody>
          <a:bodyPr lIns="0" tIns="45720" rIns="0" bIns="45720" anchor="t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374905" y="1142201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3" y="393192"/>
            <a:ext cx="11442627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9555D4-44D6-AEAB-C73E-7D5E09D78D6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DBD838-E55E-389E-324E-987E3489B3B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0769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896841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46122" y="1499259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65611" y="1490550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888132"/>
            <a:ext cx="3628710" cy="4390747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4905" y="1490550"/>
            <a:ext cx="3631039" cy="369486"/>
          </a:xfrm>
          <a:prstGeom prst="rect">
            <a:avLst/>
          </a:prstGeom>
          <a:ln>
            <a:noFill/>
            <a:miter lim="800000"/>
          </a:ln>
        </p:spPr>
        <p:txBody>
          <a:bodyPr lIns="0" tIns="0" rIns="91440" bIns="4572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="1" baseline="0">
                <a:solidFill>
                  <a:schemeClr val="tx1"/>
                </a:solidFill>
                <a:latin typeface="HPE Graphik Semibold" pitchFamily="50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F4A635-D29C-5A5D-714B-00FFBC11273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E2F088-5C0B-D552-5583-1D142B559A9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0149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</p:spPr>
        <p:txBody>
          <a:bodyPr lIns="0" tIns="0" rIns="91440" bIns="0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0F9A92-64E5-9B39-37FB-32E33BE347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1C6913-628D-910F-538E-B2627BE588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2998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66A10F-E470-2340-640E-A14F866265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5F6F1F-DB9C-06A9-C184-CF5F49CEF6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717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FA5188-3004-E27B-6C13-6CEBF1DE5A1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A4466B-6230-7EB6-5A32-83ABCAD0DC5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114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4904" y="1216152"/>
            <a:ext cx="11442626" cy="369486"/>
          </a:xfrm>
          <a:prstGeom prst="rect">
            <a:avLst/>
          </a:prstGeom>
        </p:spPr>
        <p:txBody>
          <a:bodyPr vert="horz" lIns="0" tIns="0" rIns="0" bIns="45720" rtlCol="0" anchor="t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  <a:defRPr sz="2000" baseline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42628" cy="775846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0EC1AB-5084-D572-D008-65E0904E99A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3AFB48-7218-4A49-8C9C-891144C1538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9820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294255" y="999540"/>
            <a:ext cx="3479038" cy="5100531"/>
          </a:xfrm>
          <a:prstGeom prst="rect">
            <a:avLst/>
          </a:prstGeom>
          <a:ln>
            <a:noFill/>
            <a:miter lim="800000"/>
          </a:ln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prstGeom prst="rect">
            <a:avLst/>
          </a:prstGeo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F377B5-1282-FF1A-9E56-8C043D9FCD9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F3186F-3885-5DE5-8FA5-6CD9D9747D4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188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19023" y="4131540"/>
            <a:ext cx="5564990" cy="20343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904" y="4181475"/>
            <a:ext cx="5564990" cy="1984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64BF61-1E66-23EC-73D9-9D4373CF4EF7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4CAAFC-7C73-8B7A-5AEF-933F0A6EB31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0323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090912" y="4184650"/>
            <a:ext cx="3684405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32908" y="4184650"/>
            <a:ext cx="3684404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904" y="4184650"/>
            <a:ext cx="3684404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 marL="540000" indent="0">
              <a:buNone/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CE0358-7593-FDA7-B0FB-FF0EC1E32039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87F768-80AD-E284-7CB0-AA45A8DB30A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037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AA170-8CC0-47B1-FE7B-FCA095BCC1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439980"/>
            <a:ext cx="8599487" cy="184665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6000" b="0" i="0">
                <a:latin typeface="HPE Graphik Light" pitchFamily="2" charset="77"/>
              </a:defRPr>
            </a:lvl1pPr>
          </a:lstStyle>
          <a:p>
            <a:r>
              <a:rPr lang="en-US"/>
              <a:t>Divider 2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C2486-EF2B-1442-FE2C-36120DCDA0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021" y="3424794"/>
            <a:ext cx="6633379" cy="3651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Subtitle here only if needed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86C1509-153F-BD27-73E3-F87006A3EC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3318031-32A0-57F5-89E3-BD97D3EE47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728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urp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100945" y="1533798"/>
            <a:ext cx="7707937" cy="4737462"/>
          </a:xfrm>
          <a:prstGeom prst="rect">
            <a:avLst/>
          </a:prstGeom>
        </p:spPr>
        <p:txBody>
          <a:bodyPr lIns="0" tIns="45720" rIns="0" bIns="45720" anchor="ctr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374905" y="1541418"/>
            <a:ext cx="3393532" cy="4729842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rgbClr val="292D3A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11433978" cy="415498"/>
          </a:xfrm>
        </p:spPr>
        <p:txBody>
          <a:bodyPr lIns="0" tIns="0" rIns="91440" bIns="0" anchor="t"/>
          <a:lstStyle>
            <a:lvl1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000">
                <a:solidFill>
                  <a:srgbClr val="292D3A"/>
                </a:solidFill>
              </a:defRPr>
            </a:lvl1pPr>
          </a:lstStyle>
          <a:p>
            <a:r>
              <a:rPr lang="en-US"/>
              <a:t>Click to Add multi-Line Title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7B045ACD-D682-9F85-8976-3DE690571A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4904" y="854202"/>
            <a:ext cx="11433978" cy="3694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" panose="020B0604020202020204" pitchFamily="34" charset="0"/>
              <a:buNone/>
              <a:defRPr sz="2000" baseline="0" dirty="0">
                <a:solidFill>
                  <a:srgbClr val="292D3A"/>
                </a:solidFill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0C3246-51E8-2C6D-91C1-DC5E683C70B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66BA11A-FF4F-0B31-22B7-B062F5B3F9B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4427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Picture and Da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3D244D9-326C-937C-4B8E-43F52273E32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pic" sz="quarter" idx="12"/>
          </p:nvPr>
        </p:nvSpPr>
        <p:spPr>
          <a:xfrm>
            <a:off x="4210050" y="0"/>
            <a:ext cx="798195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Number Text Placeholder 13">
            <a:extLst>
              <a:ext uri="{FF2B5EF4-FFF2-40B4-BE49-F238E27FC236}">
                <a16:creationId xmlns:a16="http://schemas.microsoft.com/office/drawing/2014/main" id="{C8956EBD-8393-95D1-85FB-895F28E855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94255" y="4073237"/>
            <a:ext cx="3897745" cy="2784764"/>
          </a:xfrm>
          <a:prstGeom prst="rect">
            <a:avLst/>
          </a:prstGeom>
          <a:gradFill flip="none" rotWithShape="1">
            <a:gsLst>
              <a:gs pos="14000">
                <a:srgbClr val="05CC93"/>
              </a:gs>
              <a:gs pos="39000">
                <a:srgbClr val="05CC93">
                  <a:alpha val="80353"/>
                </a:srgbClr>
              </a:gs>
              <a:gs pos="85000">
                <a:schemeClr val="bg1">
                  <a:alpha val="0"/>
                </a:schemeClr>
              </a:gs>
            </a:gsLst>
            <a:lin ang="2700000" scaled="1"/>
            <a:tileRect/>
          </a:gradFill>
        </p:spPr>
        <p:txBody>
          <a:bodyPr vert="horz" lIns="274320" tIns="274320" rIns="182880" bIns="182880" rtlCol="0">
            <a:noAutofit/>
          </a:bodyPr>
          <a:lstStyle>
            <a:lvl1pPr>
              <a:defRPr lang="en-US" sz="6000" dirty="0">
                <a:solidFill>
                  <a:schemeClr val="tx1"/>
                </a:solidFill>
                <a:latin typeface="HPE Graphik Light" pitchFamily="50" charset="0"/>
              </a:defRPr>
            </a:lvl1pPr>
            <a:lvl2pPr>
              <a:defRPr lang="en-US" dirty="0">
                <a:solidFill>
                  <a:sysClr val="windowText" lastClr="000000"/>
                </a:solidFill>
              </a:defRPr>
            </a:lvl2pPr>
          </a:lstStyle>
          <a:p>
            <a:pPr lvl="0">
              <a:lnSpc>
                <a:spcPct val="90000"/>
              </a:lnSpc>
            </a:pPr>
            <a:r>
              <a:rPr lang="en-US"/>
              <a:t>XX%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B5CDF8B-3973-89BC-B0C3-0099168110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393192"/>
            <a:ext cx="3462615" cy="841248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pl-PL"/>
              <a:t>Title only and </a:t>
            </a:r>
            <a:r>
              <a:rPr lang="en-US"/>
              <a:t>Content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FA01E04-C64C-CB22-532A-A4E1A8B4F2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2101BA-46FD-36C0-99F1-408C742C972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D4E478-B9A3-DF0A-2BC5-A31D39827AD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">
            <a:extLst>
              <a:ext uri="{FF2B5EF4-FFF2-40B4-BE49-F238E27FC236}">
                <a16:creationId xmlns:a16="http://schemas.microsoft.com/office/drawing/2014/main" id="{9192AB6B-CCDC-C9ED-9B4D-B9B1DAE2FC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4905" y="1541418"/>
            <a:ext cx="3462614" cy="4729842"/>
          </a:xfrm>
          <a:prstGeom prst="rect">
            <a:avLst/>
          </a:prstGeom>
        </p:spPr>
        <p:txBody>
          <a:bodyPr lIns="0" tIns="45720" rIns="0" bIns="45720"/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a Text Placeholder">
            <a:extLst>
              <a:ext uri="{FF2B5EF4-FFF2-40B4-BE49-F238E27FC236}">
                <a16:creationId xmlns:a16="http://schemas.microsoft.com/office/drawing/2014/main" id="{500C222B-F667-A5FC-32C7-C2F0B92957E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86788" y="5251730"/>
            <a:ext cx="3230307" cy="88538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0647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B7A4816A-A410-795D-BEA0-AED8FFD5F4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DCBED57-19AD-707F-6DA8-8B468453C59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36B64A-A8CA-B4F8-1ED1-53DA9C290E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602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8107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6B6084-0FE4-4048-3583-741AE0C95AE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1FA49D1-EA5E-4BDC-03EF-986C3CB3B92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8550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58C0B22-3DC2-E652-E265-9A67A96AF6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0224"/>
            <a:ext cx="10098780" cy="847538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Big idea statement single l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1BA14BF-4CB3-F25B-80B2-5B579ED386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303F11-128A-0352-F6B9-03E0CB827C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5573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615"/>
            <a:ext cx="9416520" cy="2306296"/>
          </a:xfrm>
        </p:spPr>
        <p:txBody>
          <a:bodyPr/>
          <a:lstStyle>
            <a:lvl1pPr>
              <a:lnSpc>
                <a:spcPct val="85000"/>
              </a:lnSpc>
              <a:defRPr sz="5500" b="0" i="0">
                <a:latin typeface="HPE Graphik Light" pitchFamily="2" charset="77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C4FC89-98CE-BBFA-D898-76DCDE986A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42BF92-646B-24E1-901E-D19598CBBE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063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0B2CDC00-5B37-BE1C-550C-F0774AF951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0224"/>
            <a:ext cx="10098780" cy="847538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Big idea statement single l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D7AC752-1063-D945-4038-6C1905F0CC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D784A7-2DD7-80EE-047F-D63021A326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0068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4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04288"/>
            <a:ext cx="9457413" cy="2304288"/>
          </a:xfrm>
        </p:spPr>
        <p:txBody>
          <a:bodyPr/>
          <a:lstStyle>
            <a:lvl1pPr>
              <a:lnSpc>
                <a:spcPct val="85000"/>
              </a:lnSpc>
              <a:defRPr sz="55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r>
              <a:rPr lang="en-US"/>
              <a:t>Big idea statement or section header with multiple lines can be placed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EAC085-14E9-0648-9F2A-D3AD872D976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CAEB46-BF54-E6AC-203B-DC671344E5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1163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or Statement 5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2FC9F-8AB0-7F54-8921-E13E2DDC8D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47254" y="374650"/>
            <a:ext cx="4062159" cy="3553883"/>
          </a:xfrm>
        </p:spPr>
        <p:txBody>
          <a:bodyPr anchor="t"/>
          <a:lstStyle>
            <a:lvl1pPr>
              <a:lnSpc>
                <a:spcPct val="90000"/>
              </a:lnSpc>
              <a:defRPr sz="4000" b="0" i="0">
                <a:solidFill>
                  <a:schemeClr val="tx1"/>
                </a:solidFill>
                <a:latin typeface="HPE Graphik Light" pitchFamily="2" charset="77"/>
              </a:defRPr>
            </a:lvl1pPr>
          </a:lstStyle>
          <a:p>
            <a:r>
              <a:rPr lang="en-US"/>
              <a:t>Big idea</a:t>
            </a:r>
            <a:br>
              <a:rPr lang="en-US"/>
            </a:br>
            <a:r>
              <a:rPr lang="en-US"/>
              <a:t>statement with</a:t>
            </a:r>
            <a:br>
              <a:rPr lang="en-US"/>
            </a:br>
            <a:r>
              <a:rPr lang="en-US"/>
              <a:t>multiple lines</a:t>
            </a:r>
            <a:br>
              <a:rPr lang="en-US"/>
            </a:br>
            <a:r>
              <a:rPr lang="en-US"/>
              <a:t>placed here</a:t>
            </a:r>
            <a:br>
              <a:rPr lang="en-US"/>
            </a:br>
            <a:r>
              <a:rPr lang="en-US"/>
              <a:t>lorem ipsum</a:t>
            </a:r>
            <a:br>
              <a:rPr lang="en-US"/>
            </a:br>
            <a:r>
              <a:rPr lang="en-US"/>
              <a:t>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58DE96-548B-9145-85BC-5AF5D72537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DAEC1C-FBEC-C5AF-4FAC-F67E7EBEFD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142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image" Target="../media/image1.png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slideLayout" Target="../slideLayouts/slideLayout80.xml"/><Relationship Id="rId39" Type="http://schemas.openxmlformats.org/officeDocument/2006/relationships/slideLayout" Target="../slideLayouts/slideLayout93.xml"/><Relationship Id="rId21" Type="http://schemas.openxmlformats.org/officeDocument/2006/relationships/slideLayout" Target="../slideLayouts/slideLayout75.xml"/><Relationship Id="rId34" Type="http://schemas.openxmlformats.org/officeDocument/2006/relationships/slideLayout" Target="../slideLayouts/slideLayout88.xml"/><Relationship Id="rId42" Type="http://schemas.openxmlformats.org/officeDocument/2006/relationships/slideLayout" Target="../slideLayouts/slideLayout96.xml"/><Relationship Id="rId47" Type="http://schemas.openxmlformats.org/officeDocument/2006/relationships/slideLayout" Target="../slideLayouts/slideLayout101.xml"/><Relationship Id="rId50" Type="http://schemas.openxmlformats.org/officeDocument/2006/relationships/slideLayout" Target="../slideLayouts/slideLayout104.xml"/><Relationship Id="rId55" Type="http://schemas.openxmlformats.org/officeDocument/2006/relationships/theme" Target="../theme/theme2.xml"/><Relationship Id="rId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32" Type="http://schemas.openxmlformats.org/officeDocument/2006/relationships/slideLayout" Target="../slideLayouts/slideLayout86.xml"/><Relationship Id="rId37" Type="http://schemas.openxmlformats.org/officeDocument/2006/relationships/slideLayout" Target="../slideLayouts/slideLayout91.xml"/><Relationship Id="rId40" Type="http://schemas.openxmlformats.org/officeDocument/2006/relationships/slideLayout" Target="../slideLayouts/slideLayout94.xml"/><Relationship Id="rId45" Type="http://schemas.openxmlformats.org/officeDocument/2006/relationships/slideLayout" Target="../slideLayouts/slideLayout99.xml"/><Relationship Id="rId53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73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slideLayout" Target="../slideLayouts/slideLayout81.xml"/><Relationship Id="rId30" Type="http://schemas.openxmlformats.org/officeDocument/2006/relationships/slideLayout" Target="../slideLayouts/slideLayout84.xml"/><Relationship Id="rId35" Type="http://schemas.openxmlformats.org/officeDocument/2006/relationships/slideLayout" Target="../slideLayouts/slideLayout89.xml"/><Relationship Id="rId43" Type="http://schemas.openxmlformats.org/officeDocument/2006/relationships/slideLayout" Target="../slideLayouts/slideLayout97.xml"/><Relationship Id="rId48" Type="http://schemas.openxmlformats.org/officeDocument/2006/relationships/slideLayout" Target="../slideLayouts/slideLayout102.xml"/><Relationship Id="rId56" Type="http://schemas.openxmlformats.org/officeDocument/2006/relationships/image" Target="../media/image1.png"/><Relationship Id="rId8" Type="http://schemas.openxmlformats.org/officeDocument/2006/relationships/slideLayout" Target="../slideLayouts/slideLayout62.xml"/><Relationship Id="rId51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33" Type="http://schemas.openxmlformats.org/officeDocument/2006/relationships/slideLayout" Target="../slideLayouts/slideLayout87.xml"/><Relationship Id="rId38" Type="http://schemas.openxmlformats.org/officeDocument/2006/relationships/slideLayout" Target="../slideLayouts/slideLayout92.xml"/><Relationship Id="rId46" Type="http://schemas.openxmlformats.org/officeDocument/2006/relationships/slideLayout" Target="../slideLayouts/slideLayout100.xml"/><Relationship Id="rId20" Type="http://schemas.openxmlformats.org/officeDocument/2006/relationships/slideLayout" Target="../slideLayouts/slideLayout74.xml"/><Relationship Id="rId41" Type="http://schemas.openxmlformats.org/officeDocument/2006/relationships/slideLayout" Target="../slideLayouts/slideLayout95.xml"/><Relationship Id="rId54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slideLayout" Target="../slideLayouts/slideLayout82.xml"/><Relationship Id="rId36" Type="http://schemas.openxmlformats.org/officeDocument/2006/relationships/slideLayout" Target="../slideLayouts/slideLayout90.xml"/><Relationship Id="rId49" Type="http://schemas.openxmlformats.org/officeDocument/2006/relationships/slideLayout" Target="../slideLayouts/slideLayout103.xml"/><Relationship Id="rId57" Type="http://schemas.openxmlformats.org/officeDocument/2006/relationships/image" Target="../media/image2.svg"/><Relationship Id="rId10" Type="http://schemas.openxmlformats.org/officeDocument/2006/relationships/slideLayout" Target="../slideLayouts/slideLayout64.xml"/><Relationship Id="rId31" Type="http://schemas.openxmlformats.org/officeDocument/2006/relationships/slideLayout" Target="../slideLayouts/slideLayout85.xml"/><Relationship Id="rId44" Type="http://schemas.openxmlformats.org/officeDocument/2006/relationships/slideLayout" Target="../slideLayouts/slideLayout98.xml"/><Relationship Id="rId52" Type="http://schemas.openxmlformats.org/officeDocument/2006/relationships/slideLayout" Target="../slideLayouts/slideLayout10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1.xml"/><Relationship Id="rId18" Type="http://schemas.openxmlformats.org/officeDocument/2006/relationships/slideLayout" Target="../slideLayouts/slideLayout126.xml"/><Relationship Id="rId26" Type="http://schemas.openxmlformats.org/officeDocument/2006/relationships/slideLayout" Target="../slideLayouts/slideLayout134.xml"/><Relationship Id="rId39" Type="http://schemas.openxmlformats.org/officeDocument/2006/relationships/slideLayout" Target="../slideLayouts/slideLayout147.xml"/><Relationship Id="rId21" Type="http://schemas.openxmlformats.org/officeDocument/2006/relationships/slideLayout" Target="../slideLayouts/slideLayout129.xml"/><Relationship Id="rId34" Type="http://schemas.openxmlformats.org/officeDocument/2006/relationships/slideLayout" Target="../slideLayouts/slideLayout142.xml"/><Relationship Id="rId42" Type="http://schemas.openxmlformats.org/officeDocument/2006/relationships/slideLayout" Target="../slideLayouts/slideLayout150.xml"/><Relationship Id="rId47" Type="http://schemas.openxmlformats.org/officeDocument/2006/relationships/slideLayout" Target="../slideLayouts/slideLayout155.xml"/><Relationship Id="rId50" Type="http://schemas.openxmlformats.org/officeDocument/2006/relationships/image" Target="../media/image39.png"/><Relationship Id="rId7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10.xml"/><Relationship Id="rId16" Type="http://schemas.openxmlformats.org/officeDocument/2006/relationships/slideLayout" Target="../slideLayouts/slideLayout124.xml"/><Relationship Id="rId29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19.xml"/><Relationship Id="rId24" Type="http://schemas.openxmlformats.org/officeDocument/2006/relationships/slideLayout" Target="../slideLayouts/slideLayout132.xml"/><Relationship Id="rId32" Type="http://schemas.openxmlformats.org/officeDocument/2006/relationships/slideLayout" Target="../slideLayouts/slideLayout140.xml"/><Relationship Id="rId37" Type="http://schemas.openxmlformats.org/officeDocument/2006/relationships/slideLayout" Target="../slideLayouts/slideLayout145.xml"/><Relationship Id="rId40" Type="http://schemas.openxmlformats.org/officeDocument/2006/relationships/slideLayout" Target="../slideLayouts/slideLayout148.xml"/><Relationship Id="rId45" Type="http://schemas.openxmlformats.org/officeDocument/2006/relationships/slideLayout" Target="../slideLayouts/slideLayout153.xml"/><Relationship Id="rId5" Type="http://schemas.openxmlformats.org/officeDocument/2006/relationships/slideLayout" Target="../slideLayouts/slideLayout113.xml"/><Relationship Id="rId15" Type="http://schemas.openxmlformats.org/officeDocument/2006/relationships/slideLayout" Target="../slideLayouts/slideLayout123.xml"/><Relationship Id="rId23" Type="http://schemas.openxmlformats.org/officeDocument/2006/relationships/slideLayout" Target="../slideLayouts/slideLayout131.xml"/><Relationship Id="rId28" Type="http://schemas.openxmlformats.org/officeDocument/2006/relationships/slideLayout" Target="../slideLayouts/slideLayout136.xml"/><Relationship Id="rId36" Type="http://schemas.openxmlformats.org/officeDocument/2006/relationships/slideLayout" Target="../slideLayouts/slideLayout144.xml"/><Relationship Id="rId49" Type="http://schemas.openxmlformats.org/officeDocument/2006/relationships/theme" Target="../theme/theme3.xml"/><Relationship Id="rId10" Type="http://schemas.openxmlformats.org/officeDocument/2006/relationships/slideLayout" Target="../slideLayouts/slideLayout118.xml"/><Relationship Id="rId19" Type="http://schemas.openxmlformats.org/officeDocument/2006/relationships/slideLayout" Target="../slideLayouts/slideLayout127.xml"/><Relationship Id="rId31" Type="http://schemas.openxmlformats.org/officeDocument/2006/relationships/slideLayout" Target="../slideLayouts/slideLayout139.xml"/><Relationship Id="rId44" Type="http://schemas.openxmlformats.org/officeDocument/2006/relationships/slideLayout" Target="../slideLayouts/slideLayout152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slideLayout" Target="../slideLayouts/slideLayout122.xml"/><Relationship Id="rId22" Type="http://schemas.openxmlformats.org/officeDocument/2006/relationships/slideLayout" Target="../slideLayouts/slideLayout130.xml"/><Relationship Id="rId27" Type="http://schemas.openxmlformats.org/officeDocument/2006/relationships/slideLayout" Target="../slideLayouts/slideLayout135.xml"/><Relationship Id="rId30" Type="http://schemas.openxmlformats.org/officeDocument/2006/relationships/slideLayout" Target="../slideLayouts/slideLayout138.xml"/><Relationship Id="rId35" Type="http://schemas.openxmlformats.org/officeDocument/2006/relationships/slideLayout" Target="../slideLayouts/slideLayout143.xml"/><Relationship Id="rId43" Type="http://schemas.openxmlformats.org/officeDocument/2006/relationships/slideLayout" Target="../slideLayouts/slideLayout151.xml"/><Relationship Id="rId48" Type="http://schemas.openxmlformats.org/officeDocument/2006/relationships/slideLayout" Target="../slideLayouts/slideLayout156.xml"/><Relationship Id="rId8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20.xml"/><Relationship Id="rId17" Type="http://schemas.openxmlformats.org/officeDocument/2006/relationships/slideLayout" Target="../slideLayouts/slideLayout125.xml"/><Relationship Id="rId25" Type="http://schemas.openxmlformats.org/officeDocument/2006/relationships/slideLayout" Target="../slideLayouts/slideLayout133.xml"/><Relationship Id="rId33" Type="http://schemas.openxmlformats.org/officeDocument/2006/relationships/slideLayout" Target="../slideLayouts/slideLayout141.xml"/><Relationship Id="rId38" Type="http://schemas.openxmlformats.org/officeDocument/2006/relationships/slideLayout" Target="../slideLayouts/slideLayout146.xml"/><Relationship Id="rId46" Type="http://schemas.openxmlformats.org/officeDocument/2006/relationships/slideLayout" Target="../slideLayouts/slideLayout154.xml"/><Relationship Id="rId20" Type="http://schemas.openxmlformats.org/officeDocument/2006/relationships/slideLayout" Target="../slideLayouts/slideLayout128.xml"/><Relationship Id="rId41" Type="http://schemas.openxmlformats.org/officeDocument/2006/relationships/slideLayout" Target="../slideLayouts/slideLayout149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9.xml"/><Relationship Id="rId18" Type="http://schemas.openxmlformats.org/officeDocument/2006/relationships/slideLayout" Target="../slideLayouts/slideLayout174.xml"/><Relationship Id="rId26" Type="http://schemas.openxmlformats.org/officeDocument/2006/relationships/slideLayout" Target="../slideLayouts/slideLayout182.xml"/><Relationship Id="rId21" Type="http://schemas.openxmlformats.org/officeDocument/2006/relationships/slideLayout" Target="../slideLayouts/slideLayout177.xml"/><Relationship Id="rId34" Type="http://schemas.openxmlformats.org/officeDocument/2006/relationships/slideLayout" Target="../slideLayouts/slideLayout190.xml"/><Relationship Id="rId7" Type="http://schemas.openxmlformats.org/officeDocument/2006/relationships/slideLayout" Target="../slideLayouts/slideLayout163.xml"/><Relationship Id="rId12" Type="http://schemas.openxmlformats.org/officeDocument/2006/relationships/slideLayout" Target="../slideLayouts/slideLayout168.xml"/><Relationship Id="rId17" Type="http://schemas.openxmlformats.org/officeDocument/2006/relationships/slideLayout" Target="../slideLayouts/slideLayout173.xml"/><Relationship Id="rId25" Type="http://schemas.openxmlformats.org/officeDocument/2006/relationships/slideLayout" Target="../slideLayouts/slideLayout181.xml"/><Relationship Id="rId33" Type="http://schemas.openxmlformats.org/officeDocument/2006/relationships/slideLayout" Target="../slideLayouts/slideLayout189.xml"/><Relationship Id="rId38" Type="http://schemas.openxmlformats.org/officeDocument/2006/relationships/theme" Target="../theme/theme4.xml"/><Relationship Id="rId2" Type="http://schemas.openxmlformats.org/officeDocument/2006/relationships/slideLayout" Target="../slideLayouts/slideLayout158.xml"/><Relationship Id="rId16" Type="http://schemas.openxmlformats.org/officeDocument/2006/relationships/slideLayout" Target="../slideLayouts/slideLayout172.xml"/><Relationship Id="rId20" Type="http://schemas.openxmlformats.org/officeDocument/2006/relationships/slideLayout" Target="../slideLayouts/slideLayout176.xml"/><Relationship Id="rId29" Type="http://schemas.openxmlformats.org/officeDocument/2006/relationships/slideLayout" Target="../slideLayouts/slideLayout185.xml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slideLayout" Target="../slideLayouts/slideLayout167.xml"/><Relationship Id="rId24" Type="http://schemas.openxmlformats.org/officeDocument/2006/relationships/slideLayout" Target="../slideLayouts/slideLayout180.xml"/><Relationship Id="rId32" Type="http://schemas.openxmlformats.org/officeDocument/2006/relationships/slideLayout" Target="../slideLayouts/slideLayout188.xml"/><Relationship Id="rId37" Type="http://schemas.openxmlformats.org/officeDocument/2006/relationships/slideLayout" Target="../slideLayouts/slideLayout193.xml"/><Relationship Id="rId5" Type="http://schemas.openxmlformats.org/officeDocument/2006/relationships/slideLayout" Target="../slideLayouts/slideLayout161.xml"/><Relationship Id="rId15" Type="http://schemas.openxmlformats.org/officeDocument/2006/relationships/slideLayout" Target="../slideLayouts/slideLayout171.xml"/><Relationship Id="rId23" Type="http://schemas.openxmlformats.org/officeDocument/2006/relationships/slideLayout" Target="../slideLayouts/slideLayout179.xml"/><Relationship Id="rId28" Type="http://schemas.openxmlformats.org/officeDocument/2006/relationships/slideLayout" Target="../slideLayouts/slideLayout184.xml"/><Relationship Id="rId36" Type="http://schemas.openxmlformats.org/officeDocument/2006/relationships/slideLayout" Target="../slideLayouts/slideLayout192.xml"/><Relationship Id="rId10" Type="http://schemas.openxmlformats.org/officeDocument/2006/relationships/slideLayout" Target="../slideLayouts/slideLayout166.xml"/><Relationship Id="rId19" Type="http://schemas.openxmlformats.org/officeDocument/2006/relationships/slideLayout" Target="../slideLayouts/slideLayout175.xml"/><Relationship Id="rId31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60.xml"/><Relationship Id="rId9" Type="http://schemas.openxmlformats.org/officeDocument/2006/relationships/slideLayout" Target="../slideLayouts/slideLayout165.xml"/><Relationship Id="rId14" Type="http://schemas.openxmlformats.org/officeDocument/2006/relationships/slideLayout" Target="../slideLayouts/slideLayout170.xml"/><Relationship Id="rId22" Type="http://schemas.openxmlformats.org/officeDocument/2006/relationships/slideLayout" Target="../slideLayouts/slideLayout178.xml"/><Relationship Id="rId27" Type="http://schemas.openxmlformats.org/officeDocument/2006/relationships/slideLayout" Target="../slideLayouts/slideLayout183.xml"/><Relationship Id="rId30" Type="http://schemas.openxmlformats.org/officeDocument/2006/relationships/slideLayout" Target="../slideLayouts/slideLayout186.xml"/><Relationship Id="rId35" Type="http://schemas.openxmlformats.org/officeDocument/2006/relationships/slideLayout" Target="../slideLayouts/slideLayout191.xml"/><Relationship Id="rId8" Type="http://schemas.openxmlformats.org/officeDocument/2006/relationships/slideLayout" Target="../slideLayouts/slideLayout164.xml"/><Relationship Id="rId3" Type="http://schemas.openxmlformats.org/officeDocument/2006/relationships/slideLayout" Target="../slideLayouts/slideLayout159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6.xml"/><Relationship Id="rId18" Type="http://schemas.openxmlformats.org/officeDocument/2006/relationships/slideLayout" Target="../slideLayouts/slideLayout211.xml"/><Relationship Id="rId26" Type="http://schemas.openxmlformats.org/officeDocument/2006/relationships/slideLayout" Target="../slideLayouts/slideLayout219.xml"/><Relationship Id="rId39" Type="http://schemas.openxmlformats.org/officeDocument/2006/relationships/slideLayout" Target="../slideLayouts/slideLayout232.xml"/><Relationship Id="rId21" Type="http://schemas.openxmlformats.org/officeDocument/2006/relationships/slideLayout" Target="../slideLayouts/slideLayout214.xml"/><Relationship Id="rId34" Type="http://schemas.openxmlformats.org/officeDocument/2006/relationships/slideLayout" Target="../slideLayouts/slideLayout227.xml"/><Relationship Id="rId42" Type="http://schemas.openxmlformats.org/officeDocument/2006/relationships/slideLayout" Target="../slideLayouts/slideLayout235.xml"/><Relationship Id="rId47" Type="http://schemas.openxmlformats.org/officeDocument/2006/relationships/slideLayout" Target="../slideLayouts/slideLayout240.xml"/><Relationship Id="rId50" Type="http://schemas.openxmlformats.org/officeDocument/2006/relationships/slideLayout" Target="../slideLayouts/slideLayout243.xml"/><Relationship Id="rId7" Type="http://schemas.openxmlformats.org/officeDocument/2006/relationships/slideLayout" Target="../slideLayouts/slideLayout200.xml"/><Relationship Id="rId2" Type="http://schemas.openxmlformats.org/officeDocument/2006/relationships/slideLayout" Target="../slideLayouts/slideLayout195.xml"/><Relationship Id="rId16" Type="http://schemas.openxmlformats.org/officeDocument/2006/relationships/slideLayout" Target="../slideLayouts/slideLayout209.xml"/><Relationship Id="rId29" Type="http://schemas.openxmlformats.org/officeDocument/2006/relationships/slideLayout" Target="../slideLayouts/slideLayout222.xml"/><Relationship Id="rId11" Type="http://schemas.openxmlformats.org/officeDocument/2006/relationships/slideLayout" Target="../slideLayouts/slideLayout204.xml"/><Relationship Id="rId24" Type="http://schemas.openxmlformats.org/officeDocument/2006/relationships/slideLayout" Target="../slideLayouts/slideLayout217.xml"/><Relationship Id="rId32" Type="http://schemas.openxmlformats.org/officeDocument/2006/relationships/slideLayout" Target="../slideLayouts/slideLayout225.xml"/><Relationship Id="rId37" Type="http://schemas.openxmlformats.org/officeDocument/2006/relationships/slideLayout" Target="../slideLayouts/slideLayout230.xml"/><Relationship Id="rId40" Type="http://schemas.openxmlformats.org/officeDocument/2006/relationships/slideLayout" Target="../slideLayouts/slideLayout233.xml"/><Relationship Id="rId45" Type="http://schemas.openxmlformats.org/officeDocument/2006/relationships/slideLayout" Target="../slideLayouts/slideLayout238.xml"/><Relationship Id="rId53" Type="http://schemas.openxmlformats.org/officeDocument/2006/relationships/image" Target="../media/image39.png"/><Relationship Id="rId5" Type="http://schemas.openxmlformats.org/officeDocument/2006/relationships/slideLayout" Target="../slideLayouts/slideLayout198.xml"/><Relationship Id="rId10" Type="http://schemas.openxmlformats.org/officeDocument/2006/relationships/slideLayout" Target="../slideLayouts/slideLayout203.xml"/><Relationship Id="rId19" Type="http://schemas.openxmlformats.org/officeDocument/2006/relationships/slideLayout" Target="../slideLayouts/slideLayout212.xml"/><Relationship Id="rId31" Type="http://schemas.openxmlformats.org/officeDocument/2006/relationships/slideLayout" Target="../slideLayouts/slideLayout224.xml"/><Relationship Id="rId44" Type="http://schemas.openxmlformats.org/officeDocument/2006/relationships/slideLayout" Target="../slideLayouts/slideLayout237.xml"/><Relationship Id="rId52" Type="http://schemas.openxmlformats.org/officeDocument/2006/relationships/theme" Target="../theme/theme5.xml"/><Relationship Id="rId4" Type="http://schemas.openxmlformats.org/officeDocument/2006/relationships/slideLayout" Target="../slideLayouts/slideLayout197.xml"/><Relationship Id="rId9" Type="http://schemas.openxmlformats.org/officeDocument/2006/relationships/slideLayout" Target="../slideLayouts/slideLayout202.xml"/><Relationship Id="rId14" Type="http://schemas.openxmlformats.org/officeDocument/2006/relationships/slideLayout" Target="../slideLayouts/slideLayout207.xml"/><Relationship Id="rId22" Type="http://schemas.openxmlformats.org/officeDocument/2006/relationships/slideLayout" Target="../slideLayouts/slideLayout215.xml"/><Relationship Id="rId27" Type="http://schemas.openxmlformats.org/officeDocument/2006/relationships/slideLayout" Target="../slideLayouts/slideLayout220.xml"/><Relationship Id="rId30" Type="http://schemas.openxmlformats.org/officeDocument/2006/relationships/slideLayout" Target="../slideLayouts/slideLayout223.xml"/><Relationship Id="rId35" Type="http://schemas.openxmlformats.org/officeDocument/2006/relationships/slideLayout" Target="../slideLayouts/slideLayout228.xml"/><Relationship Id="rId43" Type="http://schemas.openxmlformats.org/officeDocument/2006/relationships/slideLayout" Target="../slideLayouts/slideLayout236.xml"/><Relationship Id="rId48" Type="http://schemas.openxmlformats.org/officeDocument/2006/relationships/slideLayout" Target="../slideLayouts/slideLayout241.xml"/><Relationship Id="rId8" Type="http://schemas.openxmlformats.org/officeDocument/2006/relationships/slideLayout" Target="../slideLayouts/slideLayout201.xml"/><Relationship Id="rId51" Type="http://schemas.openxmlformats.org/officeDocument/2006/relationships/slideLayout" Target="../slideLayouts/slideLayout244.xml"/><Relationship Id="rId3" Type="http://schemas.openxmlformats.org/officeDocument/2006/relationships/slideLayout" Target="../slideLayouts/slideLayout196.xml"/><Relationship Id="rId12" Type="http://schemas.openxmlformats.org/officeDocument/2006/relationships/slideLayout" Target="../slideLayouts/slideLayout205.xml"/><Relationship Id="rId17" Type="http://schemas.openxmlformats.org/officeDocument/2006/relationships/slideLayout" Target="../slideLayouts/slideLayout210.xml"/><Relationship Id="rId25" Type="http://schemas.openxmlformats.org/officeDocument/2006/relationships/slideLayout" Target="../slideLayouts/slideLayout218.xml"/><Relationship Id="rId33" Type="http://schemas.openxmlformats.org/officeDocument/2006/relationships/slideLayout" Target="../slideLayouts/slideLayout226.xml"/><Relationship Id="rId38" Type="http://schemas.openxmlformats.org/officeDocument/2006/relationships/slideLayout" Target="../slideLayouts/slideLayout231.xml"/><Relationship Id="rId46" Type="http://schemas.openxmlformats.org/officeDocument/2006/relationships/slideLayout" Target="../slideLayouts/slideLayout239.xml"/><Relationship Id="rId20" Type="http://schemas.openxmlformats.org/officeDocument/2006/relationships/slideLayout" Target="../slideLayouts/slideLayout213.xml"/><Relationship Id="rId41" Type="http://schemas.openxmlformats.org/officeDocument/2006/relationships/slideLayout" Target="../slideLayouts/slideLayout234.xml"/><Relationship Id="rId1" Type="http://schemas.openxmlformats.org/officeDocument/2006/relationships/slideLayout" Target="../slideLayouts/slideLayout194.xml"/><Relationship Id="rId6" Type="http://schemas.openxmlformats.org/officeDocument/2006/relationships/slideLayout" Target="../slideLayouts/slideLayout199.xml"/><Relationship Id="rId15" Type="http://schemas.openxmlformats.org/officeDocument/2006/relationships/slideLayout" Target="../slideLayouts/slideLayout208.xml"/><Relationship Id="rId23" Type="http://schemas.openxmlformats.org/officeDocument/2006/relationships/slideLayout" Target="../slideLayouts/slideLayout216.xml"/><Relationship Id="rId28" Type="http://schemas.openxmlformats.org/officeDocument/2006/relationships/slideLayout" Target="../slideLayouts/slideLayout221.xml"/><Relationship Id="rId36" Type="http://schemas.openxmlformats.org/officeDocument/2006/relationships/slideLayout" Target="../slideLayouts/slideLayout229.xml"/><Relationship Id="rId49" Type="http://schemas.openxmlformats.org/officeDocument/2006/relationships/slideLayout" Target="../slideLayouts/slideLayout242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7.xml"/><Relationship Id="rId18" Type="http://schemas.openxmlformats.org/officeDocument/2006/relationships/slideLayout" Target="../slideLayouts/slideLayout262.xml"/><Relationship Id="rId26" Type="http://schemas.openxmlformats.org/officeDocument/2006/relationships/slideLayout" Target="../slideLayouts/slideLayout270.xml"/><Relationship Id="rId39" Type="http://schemas.openxmlformats.org/officeDocument/2006/relationships/slideLayout" Target="../slideLayouts/slideLayout283.xml"/><Relationship Id="rId21" Type="http://schemas.openxmlformats.org/officeDocument/2006/relationships/slideLayout" Target="../slideLayouts/slideLayout265.xml"/><Relationship Id="rId34" Type="http://schemas.openxmlformats.org/officeDocument/2006/relationships/slideLayout" Target="../slideLayouts/slideLayout278.xml"/><Relationship Id="rId42" Type="http://schemas.openxmlformats.org/officeDocument/2006/relationships/slideLayout" Target="../slideLayouts/slideLayout286.xml"/><Relationship Id="rId47" Type="http://schemas.openxmlformats.org/officeDocument/2006/relationships/slideLayout" Target="../slideLayouts/slideLayout291.xml"/><Relationship Id="rId50" Type="http://schemas.openxmlformats.org/officeDocument/2006/relationships/slideLayout" Target="../slideLayouts/slideLayout294.xml"/><Relationship Id="rId55" Type="http://schemas.openxmlformats.org/officeDocument/2006/relationships/theme" Target="../theme/theme6.xml"/><Relationship Id="rId7" Type="http://schemas.openxmlformats.org/officeDocument/2006/relationships/slideLayout" Target="../slideLayouts/slideLayout251.xml"/><Relationship Id="rId2" Type="http://schemas.openxmlformats.org/officeDocument/2006/relationships/slideLayout" Target="../slideLayouts/slideLayout246.xml"/><Relationship Id="rId16" Type="http://schemas.openxmlformats.org/officeDocument/2006/relationships/slideLayout" Target="../slideLayouts/slideLayout260.xml"/><Relationship Id="rId29" Type="http://schemas.openxmlformats.org/officeDocument/2006/relationships/slideLayout" Target="../slideLayouts/slideLayout273.xml"/><Relationship Id="rId11" Type="http://schemas.openxmlformats.org/officeDocument/2006/relationships/slideLayout" Target="../slideLayouts/slideLayout255.xml"/><Relationship Id="rId24" Type="http://schemas.openxmlformats.org/officeDocument/2006/relationships/slideLayout" Target="../slideLayouts/slideLayout268.xml"/><Relationship Id="rId32" Type="http://schemas.openxmlformats.org/officeDocument/2006/relationships/slideLayout" Target="../slideLayouts/slideLayout276.xml"/><Relationship Id="rId37" Type="http://schemas.openxmlformats.org/officeDocument/2006/relationships/slideLayout" Target="../slideLayouts/slideLayout281.xml"/><Relationship Id="rId40" Type="http://schemas.openxmlformats.org/officeDocument/2006/relationships/slideLayout" Target="../slideLayouts/slideLayout284.xml"/><Relationship Id="rId45" Type="http://schemas.openxmlformats.org/officeDocument/2006/relationships/slideLayout" Target="../slideLayouts/slideLayout289.xml"/><Relationship Id="rId53" Type="http://schemas.openxmlformats.org/officeDocument/2006/relationships/slideLayout" Target="../slideLayouts/slideLayout297.xml"/><Relationship Id="rId5" Type="http://schemas.openxmlformats.org/officeDocument/2006/relationships/slideLayout" Target="../slideLayouts/slideLayout249.xml"/><Relationship Id="rId19" Type="http://schemas.openxmlformats.org/officeDocument/2006/relationships/slideLayout" Target="../slideLayouts/slideLayout263.xml"/><Relationship Id="rId4" Type="http://schemas.openxmlformats.org/officeDocument/2006/relationships/slideLayout" Target="../slideLayouts/slideLayout248.xml"/><Relationship Id="rId9" Type="http://schemas.openxmlformats.org/officeDocument/2006/relationships/slideLayout" Target="../slideLayouts/slideLayout253.xml"/><Relationship Id="rId14" Type="http://schemas.openxmlformats.org/officeDocument/2006/relationships/slideLayout" Target="../slideLayouts/slideLayout258.xml"/><Relationship Id="rId22" Type="http://schemas.openxmlformats.org/officeDocument/2006/relationships/slideLayout" Target="../slideLayouts/slideLayout266.xml"/><Relationship Id="rId27" Type="http://schemas.openxmlformats.org/officeDocument/2006/relationships/slideLayout" Target="../slideLayouts/slideLayout271.xml"/><Relationship Id="rId30" Type="http://schemas.openxmlformats.org/officeDocument/2006/relationships/slideLayout" Target="../slideLayouts/slideLayout274.xml"/><Relationship Id="rId35" Type="http://schemas.openxmlformats.org/officeDocument/2006/relationships/slideLayout" Target="../slideLayouts/slideLayout279.xml"/><Relationship Id="rId43" Type="http://schemas.openxmlformats.org/officeDocument/2006/relationships/slideLayout" Target="../slideLayouts/slideLayout287.xml"/><Relationship Id="rId48" Type="http://schemas.openxmlformats.org/officeDocument/2006/relationships/slideLayout" Target="../slideLayouts/slideLayout292.xml"/><Relationship Id="rId56" Type="http://schemas.openxmlformats.org/officeDocument/2006/relationships/image" Target="../media/image1.png"/><Relationship Id="rId8" Type="http://schemas.openxmlformats.org/officeDocument/2006/relationships/slideLayout" Target="../slideLayouts/slideLayout252.xml"/><Relationship Id="rId51" Type="http://schemas.openxmlformats.org/officeDocument/2006/relationships/slideLayout" Target="../slideLayouts/slideLayout295.xml"/><Relationship Id="rId3" Type="http://schemas.openxmlformats.org/officeDocument/2006/relationships/slideLayout" Target="../slideLayouts/slideLayout247.xml"/><Relationship Id="rId12" Type="http://schemas.openxmlformats.org/officeDocument/2006/relationships/slideLayout" Target="../slideLayouts/slideLayout256.xml"/><Relationship Id="rId17" Type="http://schemas.openxmlformats.org/officeDocument/2006/relationships/slideLayout" Target="../slideLayouts/slideLayout261.xml"/><Relationship Id="rId25" Type="http://schemas.openxmlformats.org/officeDocument/2006/relationships/slideLayout" Target="../slideLayouts/slideLayout269.xml"/><Relationship Id="rId33" Type="http://schemas.openxmlformats.org/officeDocument/2006/relationships/slideLayout" Target="../slideLayouts/slideLayout277.xml"/><Relationship Id="rId38" Type="http://schemas.openxmlformats.org/officeDocument/2006/relationships/slideLayout" Target="../slideLayouts/slideLayout282.xml"/><Relationship Id="rId46" Type="http://schemas.openxmlformats.org/officeDocument/2006/relationships/slideLayout" Target="../slideLayouts/slideLayout290.xml"/><Relationship Id="rId20" Type="http://schemas.openxmlformats.org/officeDocument/2006/relationships/slideLayout" Target="../slideLayouts/slideLayout264.xml"/><Relationship Id="rId41" Type="http://schemas.openxmlformats.org/officeDocument/2006/relationships/slideLayout" Target="../slideLayouts/slideLayout285.xml"/><Relationship Id="rId54" Type="http://schemas.openxmlformats.org/officeDocument/2006/relationships/slideLayout" Target="../slideLayouts/slideLayout298.xml"/><Relationship Id="rId1" Type="http://schemas.openxmlformats.org/officeDocument/2006/relationships/slideLayout" Target="../slideLayouts/slideLayout245.xml"/><Relationship Id="rId6" Type="http://schemas.openxmlformats.org/officeDocument/2006/relationships/slideLayout" Target="../slideLayouts/slideLayout250.xml"/><Relationship Id="rId15" Type="http://schemas.openxmlformats.org/officeDocument/2006/relationships/slideLayout" Target="../slideLayouts/slideLayout259.xml"/><Relationship Id="rId23" Type="http://schemas.openxmlformats.org/officeDocument/2006/relationships/slideLayout" Target="../slideLayouts/slideLayout267.xml"/><Relationship Id="rId28" Type="http://schemas.openxmlformats.org/officeDocument/2006/relationships/slideLayout" Target="../slideLayouts/slideLayout272.xml"/><Relationship Id="rId36" Type="http://schemas.openxmlformats.org/officeDocument/2006/relationships/slideLayout" Target="../slideLayouts/slideLayout280.xml"/><Relationship Id="rId49" Type="http://schemas.openxmlformats.org/officeDocument/2006/relationships/slideLayout" Target="../slideLayouts/slideLayout293.xml"/><Relationship Id="rId57" Type="http://schemas.openxmlformats.org/officeDocument/2006/relationships/image" Target="../media/image2.svg"/><Relationship Id="rId10" Type="http://schemas.openxmlformats.org/officeDocument/2006/relationships/slideLayout" Target="../slideLayouts/slideLayout254.xml"/><Relationship Id="rId31" Type="http://schemas.openxmlformats.org/officeDocument/2006/relationships/slideLayout" Target="../slideLayouts/slideLayout275.xml"/><Relationship Id="rId44" Type="http://schemas.openxmlformats.org/officeDocument/2006/relationships/slideLayout" Target="../slideLayouts/slideLayout288.xml"/><Relationship Id="rId52" Type="http://schemas.openxmlformats.org/officeDocument/2006/relationships/slideLayout" Target="../slideLayouts/slideLayout296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1.xml"/><Relationship Id="rId18" Type="http://schemas.openxmlformats.org/officeDocument/2006/relationships/slideLayout" Target="../slideLayouts/slideLayout316.xml"/><Relationship Id="rId26" Type="http://schemas.openxmlformats.org/officeDocument/2006/relationships/slideLayout" Target="../slideLayouts/slideLayout324.xml"/><Relationship Id="rId39" Type="http://schemas.openxmlformats.org/officeDocument/2006/relationships/slideLayout" Target="../slideLayouts/slideLayout337.xml"/><Relationship Id="rId21" Type="http://schemas.openxmlformats.org/officeDocument/2006/relationships/slideLayout" Target="../slideLayouts/slideLayout319.xml"/><Relationship Id="rId34" Type="http://schemas.openxmlformats.org/officeDocument/2006/relationships/slideLayout" Target="../slideLayouts/slideLayout332.xml"/><Relationship Id="rId42" Type="http://schemas.openxmlformats.org/officeDocument/2006/relationships/slideLayout" Target="../slideLayouts/slideLayout340.xml"/><Relationship Id="rId47" Type="http://schemas.openxmlformats.org/officeDocument/2006/relationships/slideLayout" Target="../slideLayouts/slideLayout345.xml"/><Relationship Id="rId50" Type="http://schemas.openxmlformats.org/officeDocument/2006/relationships/slideLayout" Target="../slideLayouts/slideLayout348.xml"/><Relationship Id="rId55" Type="http://schemas.openxmlformats.org/officeDocument/2006/relationships/slideLayout" Target="../slideLayouts/slideLayout353.xml"/><Relationship Id="rId7" Type="http://schemas.openxmlformats.org/officeDocument/2006/relationships/slideLayout" Target="../slideLayouts/slideLayout305.xml"/><Relationship Id="rId2" Type="http://schemas.openxmlformats.org/officeDocument/2006/relationships/slideLayout" Target="../slideLayouts/slideLayout300.xml"/><Relationship Id="rId16" Type="http://schemas.openxmlformats.org/officeDocument/2006/relationships/slideLayout" Target="../slideLayouts/slideLayout314.xml"/><Relationship Id="rId29" Type="http://schemas.openxmlformats.org/officeDocument/2006/relationships/slideLayout" Target="../slideLayouts/slideLayout327.xml"/><Relationship Id="rId11" Type="http://schemas.openxmlformats.org/officeDocument/2006/relationships/slideLayout" Target="../slideLayouts/slideLayout309.xml"/><Relationship Id="rId24" Type="http://schemas.openxmlformats.org/officeDocument/2006/relationships/slideLayout" Target="../slideLayouts/slideLayout322.xml"/><Relationship Id="rId32" Type="http://schemas.openxmlformats.org/officeDocument/2006/relationships/slideLayout" Target="../slideLayouts/slideLayout330.xml"/><Relationship Id="rId37" Type="http://schemas.openxmlformats.org/officeDocument/2006/relationships/slideLayout" Target="../slideLayouts/slideLayout335.xml"/><Relationship Id="rId40" Type="http://schemas.openxmlformats.org/officeDocument/2006/relationships/slideLayout" Target="../slideLayouts/slideLayout338.xml"/><Relationship Id="rId45" Type="http://schemas.openxmlformats.org/officeDocument/2006/relationships/slideLayout" Target="../slideLayouts/slideLayout343.xml"/><Relationship Id="rId53" Type="http://schemas.openxmlformats.org/officeDocument/2006/relationships/slideLayout" Target="../slideLayouts/slideLayout351.xml"/><Relationship Id="rId58" Type="http://schemas.openxmlformats.org/officeDocument/2006/relationships/image" Target="../media/image2.svg"/><Relationship Id="rId5" Type="http://schemas.openxmlformats.org/officeDocument/2006/relationships/slideLayout" Target="../slideLayouts/slideLayout303.xml"/><Relationship Id="rId19" Type="http://schemas.openxmlformats.org/officeDocument/2006/relationships/slideLayout" Target="../slideLayouts/slideLayout317.xml"/><Relationship Id="rId4" Type="http://schemas.openxmlformats.org/officeDocument/2006/relationships/slideLayout" Target="../slideLayouts/slideLayout302.xml"/><Relationship Id="rId9" Type="http://schemas.openxmlformats.org/officeDocument/2006/relationships/slideLayout" Target="../slideLayouts/slideLayout307.xml"/><Relationship Id="rId14" Type="http://schemas.openxmlformats.org/officeDocument/2006/relationships/slideLayout" Target="../slideLayouts/slideLayout312.xml"/><Relationship Id="rId22" Type="http://schemas.openxmlformats.org/officeDocument/2006/relationships/slideLayout" Target="../slideLayouts/slideLayout320.xml"/><Relationship Id="rId27" Type="http://schemas.openxmlformats.org/officeDocument/2006/relationships/slideLayout" Target="../slideLayouts/slideLayout325.xml"/><Relationship Id="rId30" Type="http://schemas.openxmlformats.org/officeDocument/2006/relationships/slideLayout" Target="../slideLayouts/slideLayout328.xml"/><Relationship Id="rId35" Type="http://schemas.openxmlformats.org/officeDocument/2006/relationships/slideLayout" Target="../slideLayouts/slideLayout333.xml"/><Relationship Id="rId43" Type="http://schemas.openxmlformats.org/officeDocument/2006/relationships/slideLayout" Target="../slideLayouts/slideLayout341.xml"/><Relationship Id="rId48" Type="http://schemas.openxmlformats.org/officeDocument/2006/relationships/slideLayout" Target="../slideLayouts/slideLayout346.xml"/><Relationship Id="rId56" Type="http://schemas.openxmlformats.org/officeDocument/2006/relationships/theme" Target="../theme/theme7.xml"/><Relationship Id="rId8" Type="http://schemas.openxmlformats.org/officeDocument/2006/relationships/slideLayout" Target="../slideLayouts/slideLayout306.xml"/><Relationship Id="rId51" Type="http://schemas.openxmlformats.org/officeDocument/2006/relationships/slideLayout" Target="../slideLayouts/slideLayout349.xml"/><Relationship Id="rId3" Type="http://schemas.openxmlformats.org/officeDocument/2006/relationships/slideLayout" Target="../slideLayouts/slideLayout301.xml"/><Relationship Id="rId12" Type="http://schemas.openxmlformats.org/officeDocument/2006/relationships/slideLayout" Target="../slideLayouts/slideLayout310.xml"/><Relationship Id="rId17" Type="http://schemas.openxmlformats.org/officeDocument/2006/relationships/slideLayout" Target="../slideLayouts/slideLayout315.xml"/><Relationship Id="rId25" Type="http://schemas.openxmlformats.org/officeDocument/2006/relationships/slideLayout" Target="../slideLayouts/slideLayout323.xml"/><Relationship Id="rId33" Type="http://schemas.openxmlformats.org/officeDocument/2006/relationships/slideLayout" Target="../slideLayouts/slideLayout331.xml"/><Relationship Id="rId38" Type="http://schemas.openxmlformats.org/officeDocument/2006/relationships/slideLayout" Target="../slideLayouts/slideLayout336.xml"/><Relationship Id="rId46" Type="http://schemas.openxmlformats.org/officeDocument/2006/relationships/slideLayout" Target="../slideLayouts/slideLayout344.xml"/><Relationship Id="rId20" Type="http://schemas.openxmlformats.org/officeDocument/2006/relationships/slideLayout" Target="../slideLayouts/slideLayout318.xml"/><Relationship Id="rId41" Type="http://schemas.openxmlformats.org/officeDocument/2006/relationships/slideLayout" Target="../slideLayouts/slideLayout339.xml"/><Relationship Id="rId54" Type="http://schemas.openxmlformats.org/officeDocument/2006/relationships/slideLayout" Target="../slideLayouts/slideLayout352.xml"/><Relationship Id="rId1" Type="http://schemas.openxmlformats.org/officeDocument/2006/relationships/slideLayout" Target="../slideLayouts/slideLayout299.xml"/><Relationship Id="rId6" Type="http://schemas.openxmlformats.org/officeDocument/2006/relationships/slideLayout" Target="../slideLayouts/slideLayout304.xml"/><Relationship Id="rId15" Type="http://schemas.openxmlformats.org/officeDocument/2006/relationships/slideLayout" Target="../slideLayouts/slideLayout313.xml"/><Relationship Id="rId23" Type="http://schemas.openxmlformats.org/officeDocument/2006/relationships/slideLayout" Target="../slideLayouts/slideLayout321.xml"/><Relationship Id="rId28" Type="http://schemas.openxmlformats.org/officeDocument/2006/relationships/slideLayout" Target="../slideLayouts/slideLayout326.xml"/><Relationship Id="rId36" Type="http://schemas.openxmlformats.org/officeDocument/2006/relationships/slideLayout" Target="../slideLayouts/slideLayout334.xml"/><Relationship Id="rId49" Type="http://schemas.openxmlformats.org/officeDocument/2006/relationships/slideLayout" Target="../slideLayouts/slideLayout347.xml"/><Relationship Id="rId57" Type="http://schemas.openxmlformats.org/officeDocument/2006/relationships/image" Target="../media/image1.png"/><Relationship Id="rId10" Type="http://schemas.openxmlformats.org/officeDocument/2006/relationships/slideLayout" Target="../slideLayouts/slideLayout308.xml"/><Relationship Id="rId31" Type="http://schemas.openxmlformats.org/officeDocument/2006/relationships/slideLayout" Target="../slideLayouts/slideLayout329.xml"/><Relationship Id="rId44" Type="http://schemas.openxmlformats.org/officeDocument/2006/relationships/slideLayout" Target="../slideLayouts/slideLayout342.xml"/><Relationship Id="rId52" Type="http://schemas.openxmlformats.org/officeDocument/2006/relationships/slideLayout" Target="../slideLayouts/slideLayout3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CB27A8F-2EB3-5C4C-116B-F51B07B04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Master Layou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A71E9D-0BF7-DA0E-7278-50E9B09957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693010-F41B-ECDA-CB62-6D856FECAE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Element">
            <a:extLst>
              <a:ext uri="{FF2B5EF4-FFF2-40B4-BE49-F238E27FC236}">
                <a16:creationId xmlns:a16="http://schemas.microsoft.com/office/drawing/2014/main" id="{06C44655-90D3-CFC5-A208-ADA7C1ECD3B8}"/>
              </a:ext>
            </a:extLst>
          </p:cNvPr>
          <p:cNvPicPr>
            <a:picLocks noChangeAspect="1"/>
          </p:cNvPicPr>
          <p:nvPr userDrawn="1"/>
        </p:nvPicPr>
        <p:blipFill>
          <a:blip r:embed="rId56">
            <a:extLs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64CBEA-C99F-E716-C2DF-19C5C70EA2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3" y="1165860"/>
            <a:ext cx="11433977" cy="509760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189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821" r:id="rId4"/>
    <p:sldLayoutId id="2147483843" r:id="rId5"/>
    <p:sldLayoutId id="2147483654" r:id="rId6"/>
    <p:sldLayoutId id="2147483822" r:id="rId7"/>
    <p:sldLayoutId id="2147483656" r:id="rId8"/>
    <p:sldLayoutId id="2147483657" r:id="rId9"/>
    <p:sldLayoutId id="2147483658" r:id="rId10"/>
    <p:sldLayoutId id="2147483659" r:id="rId11"/>
    <p:sldLayoutId id="2147483845" r:id="rId12"/>
    <p:sldLayoutId id="2147483846" r:id="rId13"/>
    <p:sldLayoutId id="2147483797" r:id="rId14"/>
    <p:sldLayoutId id="2147483661" r:id="rId15"/>
    <p:sldLayoutId id="2147483796" r:id="rId16"/>
    <p:sldLayoutId id="2147483799" r:id="rId17"/>
    <p:sldLayoutId id="2147483802" r:id="rId18"/>
    <p:sldLayoutId id="2147483800" r:id="rId19"/>
    <p:sldLayoutId id="2147483801" r:id="rId20"/>
    <p:sldLayoutId id="2147483806" r:id="rId21"/>
    <p:sldLayoutId id="2147483807" r:id="rId22"/>
    <p:sldLayoutId id="2147483812" r:id="rId23"/>
    <p:sldLayoutId id="2147483665" r:id="rId24"/>
    <p:sldLayoutId id="2147483816" r:id="rId25"/>
    <p:sldLayoutId id="2147483662" r:id="rId26"/>
    <p:sldLayoutId id="2147483813" r:id="rId27"/>
    <p:sldLayoutId id="2147483817" r:id="rId28"/>
    <p:sldLayoutId id="2147483808" r:id="rId29"/>
    <p:sldLayoutId id="2147483810" r:id="rId30"/>
    <p:sldLayoutId id="2147483809" r:id="rId31"/>
    <p:sldLayoutId id="2147483811" r:id="rId32"/>
    <p:sldLayoutId id="2147483839" r:id="rId33"/>
    <p:sldLayoutId id="2147483829" r:id="rId34"/>
    <p:sldLayoutId id="2147483832" r:id="rId35"/>
    <p:sldLayoutId id="2147483837" r:id="rId36"/>
    <p:sldLayoutId id="2147483747" r:id="rId37"/>
    <p:sldLayoutId id="2147483673" r:id="rId38"/>
    <p:sldLayoutId id="2147483674" r:id="rId39"/>
    <p:sldLayoutId id="2147483842" r:id="rId40"/>
    <p:sldLayoutId id="2147483682" r:id="rId41"/>
    <p:sldLayoutId id="2147483683" r:id="rId42"/>
    <p:sldLayoutId id="2147483684" r:id="rId43"/>
    <p:sldLayoutId id="2147483685" r:id="rId44"/>
    <p:sldLayoutId id="2147483686" r:id="rId45"/>
    <p:sldLayoutId id="2147483687" r:id="rId46"/>
    <p:sldLayoutId id="2147483804" r:id="rId47"/>
    <p:sldLayoutId id="2147483824" r:id="rId48"/>
    <p:sldLayoutId id="2147483844" r:id="rId49"/>
    <p:sldLayoutId id="2147483749" r:id="rId50"/>
    <p:sldLayoutId id="2147483750" r:id="rId51"/>
    <p:sldLayoutId id="2147483751" r:id="rId52"/>
    <p:sldLayoutId id="2147483753" r:id="rId53"/>
    <p:sldLayoutId id="2147483795" r:id="rId5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600"/>
        </a:spcBef>
        <a:buFont typeface="HPE Graphik" pitchFamily="50" charset="0"/>
        <a:buChar char="—"/>
        <a:tabLst>
          <a:tab pos="266700" algn="l"/>
        </a:tabLst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>
          <a:tab pos="1436688" algn="l"/>
        </a:tabLst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/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095750" indent="-285750" algn="l" defTabSz="914400" rtl="0" eaLnBrk="1" latinLnBrk="0" hangingPunct="1">
        <a:lnSpc>
          <a:spcPct val="90000"/>
        </a:lnSpc>
        <a:spcBef>
          <a:spcPts val="600"/>
        </a:spcBef>
        <a:buClrTx/>
        <a:buFontTx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8" orient="horz" pos="2160">
          <p15:clr>
            <a:srgbClr val="F26B43"/>
          </p15:clr>
        </p15:guide>
        <p15:guide id="49" pos="3840">
          <p15:clr>
            <a:srgbClr val="F26B43"/>
          </p15:clr>
        </p15:guide>
        <p15:guide id="51" pos="236">
          <p15:clr>
            <a:srgbClr val="F26B43"/>
          </p15:clr>
        </p15:guide>
        <p15:guide id="52" pos="7439">
          <p15:clr>
            <a:srgbClr val="F26B43"/>
          </p15:clr>
        </p15:guide>
        <p15:guide id="53" orient="horz" pos="236">
          <p15:clr>
            <a:srgbClr val="F26B43"/>
          </p15:clr>
        </p15:guide>
        <p15:guide id="54" orient="horz" pos="4128">
          <p15:clr>
            <a:srgbClr val="F26B43"/>
          </p15:clr>
        </p15:guide>
        <p15:guide id="55" orient="horz" pos="3812">
          <p15:clr>
            <a:srgbClr val="F26B43"/>
          </p15:clr>
        </p15:guide>
        <p15:guide id="57" orient="horz" pos="1210">
          <p15:clr>
            <a:srgbClr val="F26B43"/>
          </p15:clr>
        </p15:guide>
        <p15:guide id="63" pos="796">
          <p15:clr>
            <a:srgbClr val="F26B43"/>
          </p15:clr>
        </p15:guide>
        <p15:guide id="64" pos="844">
          <p15:clr>
            <a:srgbClr val="F26B43"/>
          </p15:clr>
        </p15:guide>
        <p15:guide id="65" pos="1400">
          <p15:clr>
            <a:srgbClr val="F26B43"/>
          </p15:clr>
        </p15:guide>
        <p15:guide id="66" pos="1444">
          <p15:clr>
            <a:srgbClr val="F26B43"/>
          </p15:clr>
        </p15:guide>
        <p15:guide id="67" pos="2004">
          <p15:clr>
            <a:srgbClr val="F26B43"/>
          </p15:clr>
        </p15:guide>
        <p15:guide id="68" pos="2048">
          <p15:clr>
            <a:srgbClr val="F26B43"/>
          </p15:clr>
        </p15:guide>
        <p15:guide id="69" pos="2608">
          <p15:clr>
            <a:srgbClr val="F26B43"/>
          </p15:clr>
        </p15:guide>
        <p15:guide id="70" pos="2656">
          <p15:clr>
            <a:srgbClr val="F26B43"/>
          </p15:clr>
        </p15:guide>
        <p15:guide id="71" pos="3208">
          <p15:clr>
            <a:srgbClr val="F26B43"/>
          </p15:clr>
        </p15:guide>
        <p15:guide id="72" pos="3256">
          <p15:clr>
            <a:srgbClr val="F26B43"/>
          </p15:clr>
        </p15:guide>
        <p15:guide id="73" pos="3812">
          <p15:clr>
            <a:srgbClr val="F26B43"/>
          </p15:clr>
        </p15:guide>
        <p15:guide id="74" pos="3864">
          <p15:clr>
            <a:srgbClr val="F26B43"/>
          </p15:clr>
        </p15:guide>
        <p15:guide id="75" pos="4416">
          <p15:clr>
            <a:srgbClr val="F26B43"/>
          </p15:clr>
        </p15:guide>
        <p15:guide id="76" pos="4468">
          <p15:clr>
            <a:srgbClr val="F26B43"/>
          </p15:clr>
        </p15:guide>
        <p15:guide id="77" pos="5020">
          <p15:clr>
            <a:srgbClr val="F26B43"/>
          </p15:clr>
        </p15:guide>
        <p15:guide id="78" pos="5068">
          <p15:clr>
            <a:srgbClr val="F26B43"/>
          </p15:clr>
        </p15:guide>
        <p15:guide id="79" pos="5624">
          <p15:clr>
            <a:srgbClr val="F26B43"/>
          </p15:clr>
        </p15:guide>
        <p15:guide id="80" pos="5676">
          <p15:clr>
            <a:srgbClr val="F26B43"/>
          </p15:clr>
        </p15:guide>
        <p15:guide id="81" pos="6232">
          <p15:clr>
            <a:srgbClr val="F26B43"/>
          </p15:clr>
        </p15:guide>
        <p15:guide id="82" pos="6280">
          <p15:clr>
            <a:srgbClr val="F26B43"/>
          </p15:clr>
        </p15:guide>
        <p15:guide id="83" pos="6832">
          <p15:clr>
            <a:srgbClr val="F26B43"/>
          </p15:clr>
        </p15:guide>
        <p15:guide id="84" pos="68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CB27A8F-2EB3-5C4C-116B-F51B07B04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Master Layou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A71E9D-0BF7-DA0E-7278-50E9B09957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693010-F41B-ECDA-CB62-6D856FECAE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Element">
            <a:extLst>
              <a:ext uri="{FF2B5EF4-FFF2-40B4-BE49-F238E27FC236}">
                <a16:creationId xmlns:a16="http://schemas.microsoft.com/office/drawing/2014/main" id="{06C44655-90D3-CFC5-A208-ADA7C1ECD3B8}"/>
              </a:ext>
            </a:extLst>
          </p:cNvPr>
          <p:cNvPicPr>
            <a:picLocks noChangeAspect="1"/>
          </p:cNvPicPr>
          <p:nvPr userDrawn="1"/>
        </p:nvPicPr>
        <p:blipFill>
          <a:blip r:embed="rId56">
            <a:extLs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64CBEA-C99F-E716-C2DF-19C5C70EA2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3" y="1165860"/>
            <a:ext cx="11433977" cy="509760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38304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  <p:sldLayoutId id="2147483858" r:id="rId10"/>
    <p:sldLayoutId id="2147483859" r:id="rId11"/>
    <p:sldLayoutId id="2147483860" r:id="rId12"/>
    <p:sldLayoutId id="2147483861" r:id="rId13"/>
    <p:sldLayoutId id="2147483862" r:id="rId14"/>
    <p:sldLayoutId id="2147483863" r:id="rId15"/>
    <p:sldLayoutId id="2147483864" r:id="rId16"/>
    <p:sldLayoutId id="2147483865" r:id="rId17"/>
    <p:sldLayoutId id="2147483866" r:id="rId18"/>
    <p:sldLayoutId id="2147483867" r:id="rId19"/>
    <p:sldLayoutId id="2147483868" r:id="rId20"/>
    <p:sldLayoutId id="2147483869" r:id="rId21"/>
    <p:sldLayoutId id="2147483870" r:id="rId22"/>
    <p:sldLayoutId id="2147483871" r:id="rId23"/>
    <p:sldLayoutId id="2147483872" r:id="rId24"/>
    <p:sldLayoutId id="2147483873" r:id="rId25"/>
    <p:sldLayoutId id="2147483874" r:id="rId26"/>
    <p:sldLayoutId id="2147483875" r:id="rId27"/>
    <p:sldLayoutId id="2147483876" r:id="rId28"/>
    <p:sldLayoutId id="2147483877" r:id="rId29"/>
    <p:sldLayoutId id="2147483878" r:id="rId30"/>
    <p:sldLayoutId id="2147483879" r:id="rId31"/>
    <p:sldLayoutId id="2147483880" r:id="rId32"/>
    <p:sldLayoutId id="2147483881" r:id="rId33"/>
    <p:sldLayoutId id="2147483882" r:id="rId34"/>
    <p:sldLayoutId id="2147483883" r:id="rId35"/>
    <p:sldLayoutId id="2147483884" r:id="rId36"/>
    <p:sldLayoutId id="2147483885" r:id="rId37"/>
    <p:sldLayoutId id="2147483886" r:id="rId38"/>
    <p:sldLayoutId id="2147483887" r:id="rId39"/>
    <p:sldLayoutId id="2147483888" r:id="rId40"/>
    <p:sldLayoutId id="2147483889" r:id="rId41"/>
    <p:sldLayoutId id="2147483890" r:id="rId42"/>
    <p:sldLayoutId id="2147483891" r:id="rId43"/>
    <p:sldLayoutId id="2147483892" r:id="rId44"/>
    <p:sldLayoutId id="2147483893" r:id="rId45"/>
    <p:sldLayoutId id="2147483894" r:id="rId46"/>
    <p:sldLayoutId id="2147483895" r:id="rId47"/>
    <p:sldLayoutId id="2147483896" r:id="rId48"/>
    <p:sldLayoutId id="2147483897" r:id="rId49"/>
    <p:sldLayoutId id="2147483898" r:id="rId50"/>
    <p:sldLayoutId id="2147483899" r:id="rId51"/>
    <p:sldLayoutId id="2147483900" r:id="rId52"/>
    <p:sldLayoutId id="2147483901" r:id="rId53"/>
    <p:sldLayoutId id="2147483902" r:id="rId5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600"/>
        </a:spcBef>
        <a:buFont typeface="HPE Graphik" pitchFamily="50" charset="0"/>
        <a:buChar char="—"/>
        <a:tabLst>
          <a:tab pos="266700" algn="l"/>
        </a:tabLst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>
          <a:tab pos="1436688" algn="l"/>
        </a:tabLst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/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084262" indent="-285750" algn="l" defTabSz="914400" rtl="0" eaLnBrk="1" latinLnBrk="0" hangingPunct="1">
        <a:lnSpc>
          <a:spcPct val="90000"/>
        </a:lnSpc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8" orient="horz" pos="2160">
          <p15:clr>
            <a:srgbClr val="F26B43"/>
          </p15:clr>
        </p15:guide>
        <p15:guide id="49" pos="3840">
          <p15:clr>
            <a:srgbClr val="F26B43"/>
          </p15:clr>
        </p15:guide>
        <p15:guide id="51" pos="236">
          <p15:clr>
            <a:srgbClr val="F26B43"/>
          </p15:clr>
        </p15:guide>
        <p15:guide id="52" pos="7439">
          <p15:clr>
            <a:srgbClr val="F26B43"/>
          </p15:clr>
        </p15:guide>
        <p15:guide id="53" orient="horz" pos="236">
          <p15:clr>
            <a:srgbClr val="F26B43"/>
          </p15:clr>
        </p15:guide>
        <p15:guide id="54" orient="horz" pos="4128">
          <p15:clr>
            <a:srgbClr val="F26B43"/>
          </p15:clr>
        </p15:guide>
        <p15:guide id="55" orient="horz" pos="3812">
          <p15:clr>
            <a:srgbClr val="F26B43"/>
          </p15:clr>
        </p15:guide>
        <p15:guide id="57" orient="horz" pos="1210">
          <p15:clr>
            <a:srgbClr val="F26B43"/>
          </p15:clr>
        </p15:guide>
        <p15:guide id="63" pos="796">
          <p15:clr>
            <a:srgbClr val="F26B43"/>
          </p15:clr>
        </p15:guide>
        <p15:guide id="64" pos="844">
          <p15:clr>
            <a:srgbClr val="F26B43"/>
          </p15:clr>
        </p15:guide>
        <p15:guide id="65" pos="1400">
          <p15:clr>
            <a:srgbClr val="F26B43"/>
          </p15:clr>
        </p15:guide>
        <p15:guide id="66" pos="1444">
          <p15:clr>
            <a:srgbClr val="F26B43"/>
          </p15:clr>
        </p15:guide>
        <p15:guide id="67" pos="2004">
          <p15:clr>
            <a:srgbClr val="F26B43"/>
          </p15:clr>
        </p15:guide>
        <p15:guide id="68" pos="2048">
          <p15:clr>
            <a:srgbClr val="F26B43"/>
          </p15:clr>
        </p15:guide>
        <p15:guide id="69" pos="2608">
          <p15:clr>
            <a:srgbClr val="F26B43"/>
          </p15:clr>
        </p15:guide>
        <p15:guide id="70" pos="2656">
          <p15:clr>
            <a:srgbClr val="F26B43"/>
          </p15:clr>
        </p15:guide>
        <p15:guide id="71" pos="3208">
          <p15:clr>
            <a:srgbClr val="F26B43"/>
          </p15:clr>
        </p15:guide>
        <p15:guide id="72" pos="3256">
          <p15:clr>
            <a:srgbClr val="F26B43"/>
          </p15:clr>
        </p15:guide>
        <p15:guide id="73" pos="3812">
          <p15:clr>
            <a:srgbClr val="F26B43"/>
          </p15:clr>
        </p15:guide>
        <p15:guide id="74" pos="3864">
          <p15:clr>
            <a:srgbClr val="F26B43"/>
          </p15:clr>
        </p15:guide>
        <p15:guide id="75" pos="4416">
          <p15:clr>
            <a:srgbClr val="F26B43"/>
          </p15:clr>
        </p15:guide>
        <p15:guide id="76" pos="4468">
          <p15:clr>
            <a:srgbClr val="F26B43"/>
          </p15:clr>
        </p15:guide>
        <p15:guide id="77" pos="5020">
          <p15:clr>
            <a:srgbClr val="F26B43"/>
          </p15:clr>
        </p15:guide>
        <p15:guide id="78" pos="5068">
          <p15:clr>
            <a:srgbClr val="F26B43"/>
          </p15:clr>
        </p15:guide>
        <p15:guide id="79" pos="5624">
          <p15:clr>
            <a:srgbClr val="F26B43"/>
          </p15:clr>
        </p15:guide>
        <p15:guide id="80" pos="5676">
          <p15:clr>
            <a:srgbClr val="F26B43"/>
          </p15:clr>
        </p15:guide>
        <p15:guide id="81" pos="6232">
          <p15:clr>
            <a:srgbClr val="F26B43"/>
          </p15:clr>
        </p15:guide>
        <p15:guide id="82" pos="6280">
          <p15:clr>
            <a:srgbClr val="F26B43"/>
          </p15:clr>
        </p15:guide>
        <p15:guide id="83" pos="6832">
          <p15:clr>
            <a:srgbClr val="F26B43"/>
          </p15:clr>
        </p15:guide>
        <p15:guide id="84" pos="688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F759ED98-483C-42F4-AA52-F2F6388775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50"/>
              </a:buBlip>
              <a:defRPr sz="2000" kern="1200" cap="all" normalizeH="0" baseline="10000">
                <a:solidFill>
                  <a:schemeClr val="tx1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58400D4D-D383-483A-A797-47C73BC110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21696" y="6129337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17" name="Element">
            <a:extLst>
              <a:ext uri="{FF2B5EF4-FFF2-40B4-BE49-F238E27FC236}">
                <a16:creationId xmlns:a16="http://schemas.microsoft.com/office/drawing/2014/main" id="{C38F67B8-84E4-471A-83C2-5829945DB925}"/>
              </a:ext>
            </a:extLst>
          </p:cNvPr>
          <p:cNvSpPr>
            <a:spLocks noChangeAspect="1"/>
          </p:cNvSpPr>
          <p:nvPr/>
        </p:nvSpPr>
        <p:spPr>
          <a:xfrm>
            <a:off x="381000" y="6246577"/>
            <a:ext cx="951511" cy="272927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9810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6324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  <p:sldLayoutId id="2147483912" r:id="rId9"/>
    <p:sldLayoutId id="2147483913" r:id="rId10"/>
    <p:sldLayoutId id="2147483914" r:id="rId11"/>
    <p:sldLayoutId id="2147483915" r:id="rId12"/>
    <p:sldLayoutId id="2147483916" r:id="rId13"/>
    <p:sldLayoutId id="2147483917" r:id="rId14"/>
    <p:sldLayoutId id="2147483918" r:id="rId15"/>
    <p:sldLayoutId id="2147483919" r:id="rId16"/>
    <p:sldLayoutId id="2147483920" r:id="rId17"/>
    <p:sldLayoutId id="2147483921" r:id="rId18"/>
    <p:sldLayoutId id="2147483922" r:id="rId19"/>
    <p:sldLayoutId id="2147483923" r:id="rId20"/>
    <p:sldLayoutId id="2147483924" r:id="rId21"/>
    <p:sldLayoutId id="2147483925" r:id="rId22"/>
    <p:sldLayoutId id="2147483926" r:id="rId23"/>
    <p:sldLayoutId id="2147483927" r:id="rId24"/>
    <p:sldLayoutId id="2147483928" r:id="rId25"/>
    <p:sldLayoutId id="2147483929" r:id="rId26"/>
    <p:sldLayoutId id="2147483930" r:id="rId27"/>
    <p:sldLayoutId id="2147483931" r:id="rId28"/>
    <p:sldLayoutId id="2147483932" r:id="rId29"/>
    <p:sldLayoutId id="2147483933" r:id="rId30"/>
    <p:sldLayoutId id="2147483934" r:id="rId31"/>
    <p:sldLayoutId id="2147483935" r:id="rId32"/>
    <p:sldLayoutId id="2147483936" r:id="rId33"/>
    <p:sldLayoutId id="2147483937" r:id="rId34"/>
    <p:sldLayoutId id="2147483938" r:id="rId35"/>
    <p:sldLayoutId id="2147483939" r:id="rId36"/>
    <p:sldLayoutId id="2147483940" r:id="rId37"/>
    <p:sldLayoutId id="2147483941" r:id="rId38"/>
    <p:sldLayoutId id="2147483942" r:id="rId39"/>
    <p:sldLayoutId id="2147483943" r:id="rId40"/>
    <p:sldLayoutId id="2147483944" r:id="rId41"/>
    <p:sldLayoutId id="2147483945" r:id="rId42"/>
    <p:sldLayoutId id="2147483946" r:id="rId43"/>
    <p:sldLayoutId id="2147483947" r:id="rId44"/>
    <p:sldLayoutId id="2147483948" r:id="rId45"/>
    <p:sldLayoutId id="2147483949" r:id="rId46"/>
    <p:sldLayoutId id="2147483950" r:id="rId47"/>
    <p:sldLayoutId id="2147483951" r:id="rId4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17">
          <p15:clr>
            <a:srgbClr val="F26B43"/>
          </p15:clr>
        </p15:guide>
        <p15:guide id="3" pos="240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84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1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CB27A8F-2EB3-5C4C-116B-F51B07B04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9518396" cy="77724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/>
          <a:p>
            <a:r>
              <a:rPr lang="en-US"/>
              <a:t>Title, subhead, and bullets layout,</a:t>
            </a:r>
            <a:br>
              <a:rPr lang="en-US"/>
            </a:br>
            <a:r>
              <a:rPr lang="en-US"/>
              <a:t>two lines m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5950AE-9830-5322-6244-0AEE95AB67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4" y="1920874"/>
            <a:ext cx="9518396" cy="413067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849564D0-C251-757A-B18A-7A254DEC59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8533" y="6429247"/>
            <a:ext cx="2278888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pPr algn="r"/>
            <a:r>
              <a:rPr lang="en-US"/>
              <a:t>Confidential | Authorized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61ECA33-8429-64B6-BDB1-856795EBD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29247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00">
                <a:solidFill>
                  <a:srgbClr val="F7F7F7"/>
                </a:solidFill>
                <a:latin typeface="HPE Graphik Light" pitchFamily="50" charset="0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0051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  <p:sldLayoutId id="2147483960" r:id="rId5"/>
    <p:sldLayoutId id="2147483961" r:id="rId6"/>
    <p:sldLayoutId id="2147483962" r:id="rId7"/>
    <p:sldLayoutId id="2147483963" r:id="rId8"/>
    <p:sldLayoutId id="2147483964" r:id="rId9"/>
    <p:sldLayoutId id="2147483965" r:id="rId10"/>
    <p:sldLayoutId id="2147483966" r:id="rId11"/>
    <p:sldLayoutId id="2147483967" r:id="rId12"/>
    <p:sldLayoutId id="2147483968" r:id="rId13"/>
    <p:sldLayoutId id="2147483969" r:id="rId14"/>
    <p:sldLayoutId id="2147483970" r:id="rId15"/>
    <p:sldLayoutId id="2147483971" r:id="rId16"/>
    <p:sldLayoutId id="2147483972" r:id="rId17"/>
    <p:sldLayoutId id="2147483973" r:id="rId18"/>
    <p:sldLayoutId id="2147483974" r:id="rId19"/>
    <p:sldLayoutId id="2147483975" r:id="rId20"/>
    <p:sldLayoutId id="2147483976" r:id="rId21"/>
    <p:sldLayoutId id="2147483977" r:id="rId22"/>
    <p:sldLayoutId id="2147483978" r:id="rId23"/>
    <p:sldLayoutId id="2147483979" r:id="rId24"/>
    <p:sldLayoutId id="2147483980" r:id="rId25"/>
    <p:sldLayoutId id="2147483981" r:id="rId26"/>
    <p:sldLayoutId id="2147483982" r:id="rId27"/>
    <p:sldLayoutId id="2147483983" r:id="rId28"/>
    <p:sldLayoutId id="2147483984" r:id="rId29"/>
    <p:sldLayoutId id="2147483985" r:id="rId30"/>
    <p:sldLayoutId id="2147483986" r:id="rId31"/>
    <p:sldLayoutId id="2147483987" r:id="rId32"/>
    <p:sldLayoutId id="2147483988" r:id="rId33"/>
    <p:sldLayoutId id="2147483989" r:id="rId34"/>
    <p:sldLayoutId id="2147483990" r:id="rId35"/>
    <p:sldLayoutId id="2147483991" r:id="rId36"/>
    <p:sldLayoutId id="2147483992" r:id="rId3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bg1"/>
          </a:solidFill>
          <a:latin typeface="HPE Graphik Semibold" pitchFamily="50" charset="0"/>
          <a:ea typeface="+mj-ea"/>
          <a:cs typeface="+mj-cs"/>
        </a:defRPr>
      </a:lvl1pPr>
    </p:titleStyle>
    <p:bodyStyle>
      <a:lvl1pPr marL="285750" indent="-28575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HPE Graphik Light" pitchFamily="50" charset="0"/>
          <a:ea typeface="+mn-ea"/>
          <a:cs typeface="+mn-cs"/>
        </a:defRPr>
      </a:lvl1pPr>
      <a:lvl2pPr marL="0" indent="-320040" algn="l" defTabSz="914400" rtl="0" eaLnBrk="1" latinLnBrk="0" hangingPunct="1">
        <a:lnSpc>
          <a:spcPct val="100000"/>
        </a:lnSpc>
        <a:spcBef>
          <a:spcPts val="500"/>
        </a:spcBef>
        <a:buFont typeface="Graphik Light" panose="020B0403030202060203" pitchFamily="34" charset="0"/>
        <a:buChar char="—"/>
        <a:defRPr sz="1800" kern="1200">
          <a:solidFill>
            <a:schemeClr val="bg1"/>
          </a:solidFill>
          <a:latin typeface="HPE Graphik Light" pitchFamily="50" charset="0"/>
          <a:ea typeface="+mn-ea"/>
          <a:cs typeface="+mn-cs"/>
        </a:defRPr>
      </a:lvl2pPr>
      <a:lvl3pPr marL="641350" indent="-319088" algn="l" defTabSz="914400" rtl="0" eaLnBrk="1" latinLnBrk="0" hangingPunct="1">
        <a:lnSpc>
          <a:spcPct val="100000"/>
        </a:lnSpc>
        <a:spcBef>
          <a:spcPts val="500"/>
        </a:spcBef>
        <a:buFont typeface="Graphik Light" panose="020B0403030202060203" pitchFamily="34" charset="0"/>
        <a:buChar char="—"/>
        <a:tabLst/>
        <a:defRPr sz="1800" kern="1200">
          <a:solidFill>
            <a:schemeClr val="bg1"/>
          </a:solidFill>
          <a:latin typeface="HPE Graphik Light" pitchFamily="50" charset="0"/>
          <a:ea typeface="+mn-ea"/>
          <a:cs typeface="+mn-cs"/>
        </a:defRPr>
      </a:lvl3pPr>
      <a:lvl4pPr marL="962025" indent="-319088" algn="l" defTabSz="914400" rtl="0" eaLnBrk="1" latinLnBrk="0" hangingPunct="1">
        <a:lnSpc>
          <a:spcPct val="100000"/>
        </a:lnSpc>
        <a:spcBef>
          <a:spcPts val="500"/>
        </a:spcBef>
        <a:buFont typeface="Graphik Light" panose="020B0403030202060203" pitchFamily="34" charset="0"/>
        <a:buChar char="—"/>
        <a:tabLst/>
        <a:defRPr sz="1800" kern="1200">
          <a:solidFill>
            <a:schemeClr val="bg1"/>
          </a:solidFill>
          <a:latin typeface="HPE Graphik Light" pitchFamily="50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9" pos="236">
          <p15:clr>
            <a:srgbClr val="F26B43"/>
          </p15:clr>
        </p15:guide>
        <p15:guide id="50" pos="7439">
          <p15:clr>
            <a:srgbClr val="F26B43"/>
          </p15:clr>
        </p15:guide>
        <p15:guide id="51" orient="horz" pos="236">
          <p15:clr>
            <a:srgbClr val="F26B43"/>
          </p15:clr>
        </p15:guide>
        <p15:guide id="52" orient="horz" pos="4128">
          <p15:clr>
            <a:srgbClr val="F26B43"/>
          </p15:clr>
        </p15:guide>
        <p15:guide id="53" orient="horz" pos="3812">
          <p15:clr>
            <a:srgbClr val="F26B43"/>
          </p15:clr>
        </p15:guide>
        <p15:guide id="55" orient="horz" pos="1210">
          <p15:clr>
            <a:srgbClr val="F26B43"/>
          </p15:clr>
        </p15:guide>
        <p15:guide id="61" pos="796">
          <p15:clr>
            <a:srgbClr val="F26B43"/>
          </p15:clr>
        </p15:guide>
        <p15:guide id="62" pos="844">
          <p15:clr>
            <a:srgbClr val="F26B43"/>
          </p15:clr>
        </p15:guide>
        <p15:guide id="63" pos="1400">
          <p15:clr>
            <a:srgbClr val="F26B43"/>
          </p15:clr>
        </p15:guide>
        <p15:guide id="64" pos="1444">
          <p15:clr>
            <a:srgbClr val="F26B43"/>
          </p15:clr>
        </p15:guide>
        <p15:guide id="65" pos="2004">
          <p15:clr>
            <a:srgbClr val="F26B43"/>
          </p15:clr>
        </p15:guide>
        <p15:guide id="66" pos="2048">
          <p15:clr>
            <a:srgbClr val="F26B43"/>
          </p15:clr>
        </p15:guide>
        <p15:guide id="67" pos="2608">
          <p15:clr>
            <a:srgbClr val="F26B43"/>
          </p15:clr>
        </p15:guide>
        <p15:guide id="68" pos="2656">
          <p15:clr>
            <a:srgbClr val="F26B43"/>
          </p15:clr>
        </p15:guide>
        <p15:guide id="69" pos="3208">
          <p15:clr>
            <a:srgbClr val="F26B43"/>
          </p15:clr>
        </p15:guide>
        <p15:guide id="70" pos="3256">
          <p15:clr>
            <a:srgbClr val="F26B43"/>
          </p15:clr>
        </p15:guide>
        <p15:guide id="71" pos="3812">
          <p15:clr>
            <a:srgbClr val="F26B43"/>
          </p15:clr>
        </p15:guide>
        <p15:guide id="72" pos="3864">
          <p15:clr>
            <a:srgbClr val="F26B43"/>
          </p15:clr>
        </p15:guide>
        <p15:guide id="73" pos="4416">
          <p15:clr>
            <a:srgbClr val="F26B43"/>
          </p15:clr>
        </p15:guide>
        <p15:guide id="74" pos="4468">
          <p15:clr>
            <a:srgbClr val="F26B43"/>
          </p15:clr>
        </p15:guide>
        <p15:guide id="75" pos="5020">
          <p15:clr>
            <a:srgbClr val="F26B43"/>
          </p15:clr>
        </p15:guide>
        <p15:guide id="76" pos="5068">
          <p15:clr>
            <a:srgbClr val="F26B43"/>
          </p15:clr>
        </p15:guide>
        <p15:guide id="77" pos="5624">
          <p15:clr>
            <a:srgbClr val="F26B43"/>
          </p15:clr>
        </p15:guide>
        <p15:guide id="78" pos="5676">
          <p15:clr>
            <a:srgbClr val="F26B43"/>
          </p15:clr>
        </p15:guide>
        <p15:guide id="79" pos="6232">
          <p15:clr>
            <a:srgbClr val="F26B43"/>
          </p15:clr>
        </p15:guide>
        <p15:guide id="80" pos="6280">
          <p15:clr>
            <a:srgbClr val="F26B43"/>
          </p15:clr>
        </p15:guide>
        <p15:guide id="81" pos="6832">
          <p15:clr>
            <a:srgbClr val="F26B43"/>
          </p15:clr>
        </p15:guide>
        <p15:guide id="82" pos="6880">
          <p15:clr>
            <a:srgbClr val="F26B43"/>
          </p15:clr>
        </p15:guide>
        <p15:guide id="83" orient="horz" pos="2160">
          <p15:clr>
            <a:srgbClr val="F26B43"/>
          </p15:clr>
        </p15:guide>
        <p15:guide id="84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F759ED98-483C-42F4-AA52-F2F6388775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53"/>
              </a:buBlip>
              <a:defRPr sz="2000" kern="1200" cap="all" normalizeH="0" baseline="10000">
                <a:solidFill>
                  <a:schemeClr val="tx1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58400D4D-D383-483A-A797-47C73BC110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21696" y="6129337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17" name="Element">
            <a:extLst>
              <a:ext uri="{FF2B5EF4-FFF2-40B4-BE49-F238E27FC236}">
                <a16:creationId xmlns:a16="http://schemas.microsoft.com/office/drawing/2014/main" id="{C38F67B8-84E4-471A-83C2-5829945DB925}"/>
              </a:ext>
            </a:extLst>
          </p:cNvPr>
          <p:cNvSpPr>
            <a:spLocks noChangeAspect="1"/>
          </p:cNvSpPr>
          <p:nvPr/>
        </p:nvSpPr>
        <p:spPr>
          <a:xfrm>
            <a:off x="381000" y="6246577"/>
            <a:ext cx="951511" cy="272927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9810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960853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  <p:sldLayoutId id="2147484002" r:id="rId9"/>
    <p:sldLayoutId id="2147484003" r:id="rId10"/>
    <p:sldLayoutId id="2147484004" r:id="rId11"/>
    <p:sldLayoutId id="2147484005" r:id="rId12"/>
    <p:sldLayoutId id="2147484006" r:id="rId13"/>
    <p:sldLayoutId id="2147484007" r:id="rId14"/>
    <p:sldLayoutId id="2147484008" r:id="rId15"/>
    <p:sldLayoutId id="2147484009" r:id="rId16"/>
    <p:sldLayoutId id="2147484010" r:id="rId17"/>
    <p:sldLayoutId id="2147484011" r:id="rId18"/>
    <p:sldLayoutId id="2147484012" r:id="rId19"/>
    <p:sldLayoutId id="2147484013" r:id="rId20"/>
    <p:sldLayoutId id="2147484014" r:id="rId21"/>
    <p:sldLayoutId id="2147484015" r:id="rId22"/>
    <p:sldLayoutId id="2147484016" r:id="rId23"/>
    <p:sldLayoutId id="2147484017" r:id="rId24"/>
    <p:sldLayoutId id="2147484018" r:id="rId25"/>
    <p:sldLayoutId id="2147484019" r:id="rId26"/>
    <p:sldLayoutId id="2147484020" r:id="rId27"/>
    <p:sldLayoutId id="2147484021" r:id="rId28"/>
    <p:sldLayoutId id="2147484022" r:id="rId29"/>
    <p:sldLayoutId id="2147484023" r:id="rId30"/>
    <p:sldLayoutId id="2147484024" r:id="rId31"/>
    <p:sldLayoutId id="2147484025" r:id="rId32"/>
    <p:sldLayoutId id="2147484026" r:id="rId33"/>
    <p:sldLayoutId id="2147484027" r:id="rId34"/>
    <p:sldLayoutId id="2147484028" r:id="rId35"/>
    <p:sldLayoutId id="2147484029" r:id="rId36"/>
    <p:sldLayoutId id="2147484030" r:id="rId37"/>
    <p:sldLayoutId id="2147484031" r:id="rId38"/>
    <p:sldLayoutId id="2147484032" r:id="rId39"/>
    <p:sldLayoutId id="2147484033" r:id="rId40"/>
    <p:sldLayoutId id="2147484034" r:id="rId41"/>
    <p:sldLayoutId id="2147484035" r:id="rId42"/>
    <p:sldLayoutId id="2147484036" r:id="rId43"/>
    <p:sldLayoutId id="2147484037" r:id="rId44"/>
    <p:sldLayoutId id="2147484038" r:id="rId45"/>
    <p:sldLayoutId id="2147484039" r:id="rId46"/>
    <p:sldLayoutId id="2147484040" r:id="rId47"/>
    <p:sldLayoutId id="2147484041" r:id="rId48"/>
    <p:sldLayoutId id="2147484101" r:id="rId49"/>
    <p:sldLayoutId id="2147484042" r:id="rId50"/>
    <p:sldLayoutId id="2147484043" r:id="rId5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17">
          <p15:clr>
            <a:srgbClr val="F26B43"/>
          </p15:clr>
        </p15:guide>
        <p15:guide id="3" pos="240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84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1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CB27A8F-2EB3-5C4C-116B-F51B07B04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Master Layout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A64CBEA-C99F-E716-C2DF-19C5C70EA2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3" y="1165860"/>
            <a:ext cx="11433977" cy="509760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Element 3">
            <a:extLst>
              <a:ext uri="{FF2B5EF4-FFF2-40B4-BE49-F238E27FC236}">
                <a16:creationId xmlns:a16="http://schemas.microsoft.com/office/drawing/2014/main" id="{06C44655-90D3-CFC5-A208-ADA7C1ECD3B8}"/>
              </a:ext>
            </a:extLst>
          </p:cNvPr>
          <p:cNvPicPr>
            <a:picLocks noChangeAspect="1"/>
          </p:cNvPicPr>
          <p:nvPr userDrawn="1"/>
        </p:nvPicPr>
        <p:blipFill>
          <a:blip r:embed="rId56">
            <a:extLs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A71E9D-0BF7-DA0E-7278-50E9B09957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HPE internal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693010-F41B-ECDA-CB62-6D856FECAE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015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6" r:id="rId1"/>
    <p:sldLayoutId id="2147484047" r:id="rId2"/>
    <p:sldLayoutId id="2147484048" r:id="rId3"/>
    <p:sldLayoutId id="2147484049" r:id="rId4"/>
    <p:sldLayoutId id="2147484050" r:id="rId5"/>
    <p:sldLayoutId id="2147484051" r:id="rId6"/>
    <p:sldLayoutId id="2147484052" r:id="rId7"/>
    <p:sldLayoutId id="2147484053" r:id="rId8"/>
    <p:sldLayoutId id="2147484054" r:id="rId9"/>
    <p:sldLayoutId id="2147484055" r:id="rId10"/>
    <p:sldLayoutId id="2147484056" r:id="rId11"/>
    <p:sldLayoutId id="2147484057" r:id="rId12"/>
    <p:sldLayoutId id="2147484058" r:id="rId13"/>
    <p:sldLayoutId id="2147484059" r:id="rId14"/>
    <p:sldLayoutId id="2147484060" r:id="rId15"/>
    <p:sldLayoutId id="2147484061" r:id="rId16"/>
    <p:sldLayoutId id="2147484062" r:id="rId17"/>
    <p:sldLayoutId id="2147484063" r:id="rId18"/>
    <p:sldLayoutId id="2147484064" r:id="rId19"/>
    <p:sldLayoutId id="2147484065" r:id="rId20"/>
    <p:sldLayoutId id="2147484066" r:id="rId21"/>
    <p:sldLayoutId id="2147484067" r:id="rId22"/>
    <p:sldLayoutId id="2147484068" r:id="rId23"/>
    <p:sldLayoutId id="2147484069" r:id="rId24"/>
    <p:sldLayoutId id="2147484070" r:id="rId25"/>
    <p:sldLayoutId id="2147484071" r:id="rId26"/>
    <p:sldLayoutId id="2147484072" r:id="rId27"/>
    <p:sldLayoutId id="2147484073" r:id="rId28"/>
    <p:sldLayoutId id="2147484074" r:id="rId29"/>
    <p:sldLayoutId id="2147484075" r:id="rId30"/>
    <p:sldLayoutId id="2147484076" r:id="rId31"/>
    <p:sldLayoutId id="2147484077" r:id="rId32"/>
    <p:sldLayoutId id="2147484078" r:id="rId33"/>
    <p:sldLayoutId id="2147484079" r:id="rId34"/>
    <p:sldLayoutId id="2147484080" r:id="rId35"/>
    <p:sldLayoutId id="2147484081" r:id="rId36"/>
    <p:sldLayoutId id="2147484082" r:id="rId37"/>
    <p:sldLayoutId id="2147484083" r:id="rId38"/>
    <p:sldLayoutId id="2147484084" r:id="rId39"/>
    <p:sldLayoutId id="2147484085" r:id="rId40"/>
    <p:sldLayoutId id="2147484086" r:id="rId41"/>
    <p:sldLayoutId id="2147484087" r:id="rId42"/>
    <p:sldLayoutId id="2147484088" r:id="rId43"/>
    <p:sldLayoutId id="2147484089" r:id="rId44"/>
    <p:sldLayoutId id="2147484090" r:id="rId45"/>
    <p:sldLayoutId id="2147484091" r:id="rId46"/>
    <p:sldLayoutId id="2147484092" r:id="rId47"/>
    <p:sldLayoutId id="2147484093" r:id="rId48"/>
    <p:sldLayoutId id="2147484094" r:id="rId49"/>
    <p:sldLayoutId id="2147484095" r:id="rId50"/>
    <p:sldLayoutId id="2147484096" r:id="rId51"/>
    <p:sldLayoutId id="2147484097" r:id="rId52"/>
    <p:sldLayoutId id="2147484098" r:id="rId53"/>
    <p:sldLayoutId id="2147484099" r:id="rId5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600"/>
        </a:spcBef>
        <a:buFont typeface="HPE Graphik" pitchFamily="50" charset="0"/>
        <a:buChar char="—"/>
        <a:tabLst>
          <a:tab pos="266700" algn="l"/>
        </a:tabLst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>
          <a:tab pos="1436688" algn="l"/>
        </a:tabLst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/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095750" indent="-285750" algn="l" defTabSz="914400" rtl="0" eaLnBrk="1" latinLnBrk="0" hangingPunct="1">
        <a:lnSpc>
          <a:spcPct val="90000"/>
        </a:lnSpc>
        <a:spcBef>
          <a:spcPts val="600"/>
        </a:spcBef>
        <a:buClrTx/>
        <a:buFontTx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8" orient="horz" pos="2160">
          <p15:clr>
            <a:srgbClr val="F26B43"/>
          </p15:clr>
        </p15:guide>
        <p15:guide id="49" pos="3840">
          <p15:clr>
            <a:srgbClr val="F26B43"/>
          </p15:clr>
        </p15:guide>
        <p15:guide id="51" pos="236">
          <p15:clr>
            <a:srgbClr val="F26B43"/>
          </p15:clr>
        </p15:guide>
        <p15:guide id="52" pos="7439">
          <p15:clr>
            <a:srgbClr val="F26B43"/>
          </p15:clr>
        </p15:guide>
        <p15:guide id="53" orient="horz" pos="236">
          <p15:clr>
            <a:srgbClr val="F26B43"/>
          </p15:clr>
        </p15:guide>
        <p15:guide id="54" orient="horz" pos="4128">
          <p15:clr>
            <a:srgbClr val="F26B43"/>
          </p15:clr>
        </p15:guide>
        <p15:guide id="55" orient="horz" pos="3812">
          <p15:clr>
            <a:srgbClr val="F26B43"/>
          </p15:clr>
        </p15:guide>
        <p15:guide id="57" orient="horz" pos="1210">
          <p15:clr>
            <a:srgbClr val="F26B43"/>
          </p15:clr>
        </p15:guide>
        <p15:guide id="63" pos="796">
          <p15:clr>
            <a:srgbClr val="F26B43"/>
          </p15:clr>
        </p15:guide>
        <p15:guide id="64" pos="844">
          <p15:clr>
            <a:srgbClr val="F26B43"/>
          </p15:clr>
        </p15:guide>
        <p15:guide id="65" pos="1400">
          <p15:clr>
            <a:srgbClr val="F26B43"/>
          </p15:clr>
        </p15:guide>
        <p15:guide id="66" pos="1444">
          <p15:clr>
            <a:srgbClr val="F26B43"/>
          </p15:clr>
        </p15:guide>
        <p15:guide id="67" pos="2004">
          <p15:clr>
            <a:srgbClr val="F26B43"/>
          </p15:clr>
        </p15:guide>
        <p15:guide id="68" pos="2048">
          <p15:clr>
            <a:srgbClr val="F26B43"/>
          </p15:clr>
        </p15:guide>
        <p15:guide id="69" pos="2608">
          <p15:clr>
            <a:srgbClr val="F26B43"/>
          </p15:clr>
        </p15:guide>
        <p15:guide id="70" pos="2656">
          <p15:clr>
            <a:srgbClr val="F26B43"/>
          </p15:clr>
        </p15:guide>
        <p15:guide id="71" pos="3208">
          <p15:clr>
            <a:srgbClr val="F26B43"/>
          </p15:clr>
        </p15:guide>
        <p15:guide id="72" pos="3256">
          <p15:clr>
            <a:srgbClr val="F26B43"/>
          </p15:clr>
        </p15:guide>
        <p15:guide id="73" pos="3812">
          <p15:clr>
            <a:srgbClr val="F26B43"/>
          </p15:clr>
        </p15:guide>
        <p15:guide id="74" pos="3864">
          <p15:clr>
            <a:srgbClr val="F26B43"/>
          </p15:clr>
        </p15:guide>
        <p15:guide id="75" pos="4416">
          <p15:clr>
            <a:srgbClr val="F26B43"/>
          </p15:clr>
        </p15:guide>
        <p15:guide id="76" pos="4468">
          <p15:clr>
            <a:srgbClr val="F26B43"/>
          </p15:clr>
        </p15:guide>
        <p15:guide id="77" pos="5020">
          <p15:clr>
            <a:srgbClr val="F26B43"/>
          </p15:clr>
        </p15:guide>
        <p15:guide id="78" pos="5068">
          <p15:clr>
            <a:srgbClr val="F26B43"/>
          </p15:clr>
        </p15:guide>
        <p15:guide id="79" pos="5624">
          <p15:clr>
            <a:srgbClr val="F26B43"/>
          </p15:clr>
        </p15:guide>
        <p15:guide id="80" pos="5676">
          <p15:clr>
            <a:srgbClr val="F26B43"/>
          </p15:clr>
        </p15:guide>
        <p15:guide id="81" pos="6232">
          <p15:clr>
            <a:srgbClr val="F26B43"/>
          </p15:clr>
        </p15:guide>
        <p15:guide id="82" pos="6280">
          <p15:clr>
            <a:srgbClr val="F26B43"/>
          </p15:clr>
        </p15:guide>
        <p15:guide id="83" pos="6832">
          <p15:clr>
            <a:srgbClr val="F26B43"/>
          </p15:clr>
        </p15:guide>
        <p15:guide id="84" pos="688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CB27A8F-2EB3-5C4C-116B-F51B07B04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393192"/>
            <a:ext cx="11433978" cy="41325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Master Layou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A71E9D-0BF7-DA0E-7278-50E9B09957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71873" y="6402310"/>
            <a:ext cx="6217666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r>
              <a:rPr lang="en-US"/>
              <a:t>Confidential | Authorized HPE Partner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693010-F41B-ECDA-CB62-6D856FECAE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100" y="6402310"/>
            <a:ext cx="340782" cy="1905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C0388CE4-E87A-43A8-A4DA-5AAB8529E0B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Element">
            <a:extLst>
              <a:ext uri="{FF2B5EF4-FFF2-40B4-BE49-F238E27FC236}">
                <a16:creationId xmlns:a16="http://schemas.microsoft.com/office/drawing/2014/main" id="{06C44655-90D3-CFC5-A208-ADA7C1ECD3B8}"/>
              </a:ext>
            </a:extLst>
          </p:cNvPr>
          <p:cNvPicPr>
            <a:picLocks noChangeAspect="1"/>
          </p:cNvPicPr>
          <p:nvPr userDrawn="1"/>
        </p:nvPicPr>
        <p:blipFill>
          <a:blip r:embed="rId57">
            <a:extLs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 flipV="1">
            <a:off x="374651" y="6402311"/>
            <a:ext cx="527812" cy="150888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64CBEA-C99F-E716-C2DF-19C5C70EA2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3" y="1165860"/>
            <a:ext cx="11433977" cy="509760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38114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3" r:id="rId1"/>
    <p:sldLayoutId id="2147484104" r:id="rId2"/>
    <p:sldLayoutId id="2147484105" r:id="rId3"/>
    <p:sldLayoutId id="2147484106" r:id="rId4"/>
    <p:sldLayoutId id="2147484107" r:id="rId5"/>
    <p:sldLayoutId id="2147484108" r:id="rId6"/>
    <p:sldLayoutId id="2147484109" r:id="rId7"/>
    <p:sldLayoutId id="2147484110" r:id="rId8"/>
    <p:sldLayoutId id="2147484111" r:id="rId9"/>
    <p:sldLayoutId id="2147484112" r:id="rId10"/>
    <p:sldLayoutId id="2147484113" r:id="rId11"/>
    <p:sldLayoutId id="2147484114" r:id="rId12"/>
    <p:sldLayoutId id="2147484115" r:id="rId13"/>
    <p:sldLayoutId id="2147484116" r:id="rId14"/>
    <p:sldLayoutId id="2147484117" r:id="rId15"/>
    <p:sldLayoutId id="2147484118" r:id="rId16"/>
    <p:sldLayoutId id="2147484119" r:id="rId17"/>
    <p:sldLayoutId id="2147484120" r:id="rId18"/>
    <p:sldLayoutId id="2147484121" r:id="rId19"/>
    <p:sldLayoutId id="2147484122" r:id="rId20"/>
    <p:sldLayoutId id="2147484123" r:id="rId21"/>
    <p:sldLayoutId id="2147484124" r:id="rId22"/>
    <p:sldLayoutId id="2147484125" r:id="rId23"/>
    <p:sldLayoutId id="2147484126" r:id="rId24"/>
    <p:sldLayoutId id="2147484127" r:id="rId25"/>
    <p:sldLayoutId id="2147484128" r:id="rId26"/>
    <p:sldLayoutId id="2147484129" r:id="rId27"/>
    <p:sldLayoutId id="2147484130" r:id="rId28"/>
    <p:sldLayoutId id="2147484131" r:id="rId29"/>
    <p:sldLayoutId id="2147484132" r:id="rId30"/>
    <p:sldLayoutId id="2147484133" r:id="rId31"/>
    <p:sldLayoutId id="2147484134" r:id="rId32"/>
    <p:sldLayoutId id="2147484135" r:id="rId33"/>
    <p:sldLayoutId id="2147484136" r:id="rId34"/>
    <p:sldLayoutId id="2147484137" r:id="rId35"/>
    <p:sldLayoutId id="2147484138" r:id="rId36"/>
    <p:sldLayoutId id="2147484139" r:id="rId37"/>
    <p:sldLayoutId id="2147484140" r:id="rId38"/>
    <p:sldLayoutId id="2147484141" r:id="rId39"/>
    <p:sldLayoutId id="2147484142" r:id="rId40"/>
    <p:sldLayoutId id="2147484143" r:id="rId41"/>
    <p:sldLayoutId id="2147484144" r:id="rId42"/>
    <p:sldLayoutId id="2147484145" r:id="rId43"/>
    <p:sldLayoutId id="2147484146" r:id="rId44"/>
    <p:sldLayoutId id="2147484147" r:id="rId45"/>
    <p:sldLayoutId id="2147484148" r:id="rId46"/>
    <p:sldLayoutId id="2147484149" r:id="rId47"/>
    <p:sldLayoutId id="2147484150" r:id="rId48"/>
    <p:sldLayoutId id="2147484151" r:id="rId49"/>
    <p:sldLayoutId id="2147484152" r:id="rId50"/>
    <p:sldLayoutId id="2147484153" r:id="rId51"/>
    <p:sldLayoutId id="2147484154" r:id="rId52"/>
    <p:sldLayoutId id="2147484155" r:id="rId53"/>
    <p:sldLayoutId id="2147484156" r:id="rId54"/>
    <p:sldLayoutId id="2147484157" r:id="rId5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600"/>
        </a:spcBef>
        <a:buFont typeface="HPE Graphik" pitchFamily="50" charset="0"/>
        <a:buChar char="—"/>
        <a:tabLst>
          <a:tab pos="266700" algn="l"/>
        </a:tabLst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>
          <a:tab pos="1436688" algn="l"/>
        </a:tabLst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/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095750" indent="-285750" algn="l" defTabSz="914400" rtl="0" eaLnBrk="1" latinLnBrk="0" hangingPunct="1">
        <a:lnSpc>
          <a:spcPct val="90000"/>
        </a:lnSpc>
        <a:spcBef>
          <a:spcPts val="600"/>
        </a:spcBef>
        <a:buClrTx/>
        <a:buFontTx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8" orient="horz" pos="2160">
          <p15:clr>
            <a:srgbClr val="F26B43"/>
          </p15:clr>
        </p15:guide>
        <p15:guide id="49" pos="3840">
          <p15:clr>
            <a:srgbClr val="F26B43"/>
          </p15:clr>
        </p15:guide>
        <p15:guide id="51" pos="236">
          <p15:clr>
            <a:srgbClr val="F26B43"/>
          </p15:clr>
        </p15:guide>
        <p15:guide id="52" pos="7439">
          <p15:clr>
            <a:srgbClr val="F26B43"/>
          </p15:clr>
        </p15:guide>
        <p15:guide id="53" orient="horz" pos="236">
          <p15:clr>
            <a:srgbClr val="F26B43"/>
          </p15:clr>
        </p15:guide>
        <p15:guide id="54" orient="horz" pos="4128">
          <p15:clr>
            <a:srgbClr val="F26B43"/>
          </p15:clr>
        </p15:guide>
        <p15:guide id="55" orient="horz" pos="3812">
          <p15:clr>
            <a:srgbClr val="F26B43"/>
          </p15:clr>
        </p15:guide>
        <p15:guide id="57" orient="horz" pos="1210">
          <p15:clr>
            <a:srgbClr val="F26B43"/>
          </p15:clr>
        </p15:guide>
        <p15:guide id="63" pos="796">
          <p15:clr>
            <a:srgbClr val="F26B43"/>
          </p15:clr>
        </p15:guide>
        <p15:guide id="64" pos="844">
          <p15:clr>
            <a:srgbClr val="F26B43"/>
          </p15:clr>
        </p15:guide>
        <p15:guide id="65" pos="1400">
          <p15:clr>
            <a:srgbClr val="F26B43"/>
          </p15:clr>
        </p15:guide>
        <p15:guide id="66" pos="1444">
          <p15:clr>
            <a:srgbClr val="F26B43"/>
          </p15:clr>
        </p15:guide>
        <p15:guide id="67" pos="2004">
          <p15:clr>
            <a:srgbClr val="F26B43"/>
          </p15:clr>
        </p15:guide>
        <p15:guide id="68" pos="2048">
          <p15:clr>
            <a:srgbClr val="F26B43"/>
          </p15:clr>
        </p15:guide>
        <p15:guide id="69" pos="2608">
          <p15:clr>
            <a:srgbClr val="F26B43"/>
          </p15:clr>
        </p15:guide>
        <p15:guide id="70" pos="2656">
          <p15:clr>
            <a:srgbClr val="F26B43"/>
          </p15:clr>
        </p15:guide>
        <p15:guide id="71" pos="3208">
          <p15:clr>
            <a:srgbClr val="F26B43"/>
          </p15:clr>
        </p15:guide>
        <p15:guide id="72" pos="3256">
          <p15:clr>
            <a:srgbClr val="F26B43"/>
          </p15:clr>
        </p15:guide>
        <p15:guide id="73" pos="3812">
          <p15:clr>
            <a:srgbClr val="F26B43"/>
          </p15:clr>
        </p15:guide>
        <p15:guide id="74" pos="3864">
          <p15:clr>
            <a:srgbClr val="F26B43"/>
          </p15:clr>
        </p15:guide>
        <p15:guide id="75" pos="4416">
          <p15:clr>
            <a:srgbClr val="F26B43"/>
          </p15:clr>
        </p15:guide>
        <p15:guide id="76" pos="4468">
          <p15:clr>
            <a:srgbClr val="F26B43"/>
          </p15:clr>
        </p15:guide>
        <p15:guide id="77" pos="5020">
          <p15:clr>
            <a:srgbClr val="F26B43"/>
          </p15:clr>
        </p15:guide>
        <p15:guide id="78" pos="5068">
          <p15:clr>
            <a:srgbClr val="F26B43"/>
          </p15:clr>
        </p15:guide>
        <p15:guide id="79" pos="5624">
          <p15:clr>
            <a:srgbClr val="F26B43"/>
          </p15:clr>
        </p15:guide>
        <p15:guide id="80" pos="5676">
          <p15:clr>
            <a:srgbClr val="F26B43"/>
          </p15:clr>
        </p15:guide>
        <p15:guide id="81" pos="6232">
          <p15:clr>
            <a:srgbClr val="F26B43"/>
          </p15:clr>
        </p15:guide>
        <p15:guide id="82" pos="6280">
          <p15:clr>
            <a:srgbClr val="F26B43"/>
          </p15:clr>
        </p15:guide>
        <p15:guide id="83" pos="6832">
          <p15:clr>
            <a:srgbClr val="F26B43"/>
          </p15:clr>
        </p15:guide>
        <p15:guide id="84" pos="6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410753-43FD-B236-7031-BB80507BBC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87B4F8-F930-A4F0-A71F-415A50262C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>
                <a:latin typeface="HPE Graphik Semibold" pitchFamily="2" charset="77"/>
                <a:cs typeface="HPE Graphik Semibold" pitchFamily="2" charset="77"/>
              </a:rPr>
              <a:t>Slide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708942-87B1-44FF-FDB1-F02EDBFCBE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 dirty="0">
                <a:latin typeface="HPE Graphik" pitchFamily="2" charset="77"/>
                <a:cs typeface="HPE Graphik" pitchFamily="2" charset="77"/>
              </a:rPr>
              <a:t>Confidential | Authorized HPE Partner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0A917C-A248-D389-EA77-285B16CAD1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88CE4-E87A-43A8-A4DA-5AAB8529E0B0}" type="slidenum">
              <a:rPr lang="en-US" smtClean="0">
                <a:latin typeface="HPE Graphik" pitchFamily="2" charset="77"/>
                <a:cs typeface="HPE Graphik" pitchFamily="2" charset="77"/>
              </a:rPr>
              <a:pPr/>
              <a:t>1</a:t>
            </a:fld>
            <a:endParaRPr lang="en-US" dirty="0">
              <a:latin typeface="HPE Graphik" pitchFamily="2" charset="77"/>
              <a:cs typeface="HPE Graphik" pitchFamily="2" charset="7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2A74229-F9AC-8E4F-EE37-782CD036BE5C}"/>
              </a:ext>
            </a:extLst>
          </p:cNvPr>
          <p:cNvSpPr txBox="1"/>
          <p:nvPr/>
        </p:nvSpPr>
        <p:spPr>
          <a:xfrm>
            <a:off x="-451692" y="859316"/>
            <a:ext cx="0" cy="0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90000" tIns="90000" rIns="90000" bIns="9000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746255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cH8r8ZF8.fmhDN.1ii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cH8r8ZF8.fmhDN.1iiJA"/>
</p:tagLst>
</file>

<file path=ppt/theme/theme1.xml><?xml version="1.0" encoding="utf-8"?>
<a:theme xmlns:a="http://schemas.openxmlformats.org/drawingml/2006/main" name="HPE Light Theme">
  <a:themeElements>
    <a:clrScheme name="HPE Light">
      <a:dk1>
        <a:srgbClr val="292D3A"/>
      </a:dk1>
      <a:lt1>
        <a:sysClr val="window" lastClr="FFFFFF"/>
      </a:lt1>
      <a:dk2>
        <a:srgbClr val="B1B9BE"/>
      </a:dk2>
      <a:lt2>
        <a:srgbClr val="535C66"/>
      </a:lt2>
      <a:accent1>
        <a:srgbClr val="01A982"/>
      </a:accent1>
      <a:accent2>
        <a:srgbClr val="7764FC"/>
      </a:accent2>
      <a:accent3>
        <a:srgbClr val="0070F8"/>
      </a:accent3>
      <a:accent4>
        <a:srgbClr val="00DBE4"/>
      </a:accent4>
      <a:accent5>
        <a:srgbClr val="873492"/>
      </a:accent5>
      <a:accent6>
        <a:srgbClr val="CC54A4"/>
      </a:accent6>
      <a:hlink>
        <a:srgbClr val="01A982"/>
      </a:hlink>
      <a:folHlink>
        <a:srgbClr val="7764FC"/>
      </a:folHlink>
    </a:clrScheme>
    <a:fontScheme name="HPE Graphik">
      <a:majorFont>
        <a:latin typeface="HPE Graphik Semibold"/>
        <a:ea typeface=""/>
        <a:cs typeface=""/>
      </a:majorFont>
      <a:minorFont>
        <a:latin typeface="HPE 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47625"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38100">
          <a:noFill/>
        </a:ln>
      </a:spPr>
      <a:bodyPr wrap="square" lIns="90170" tIns="90170" rIns="90170" bIns="90170" rtlCol="0">
        <a:noAutofit/>
      </a:bodyPr>
      <a:lstStyle>
        <a:defPPr algn="l">
          <a:defRPr dirty="0" smtClean="0"/>
        </a:defPPr>
      </a:lstStyle>
    </a:txDef>
  </a:objectDefaults>
  <a:extraClrSchemeLst/>
  <a:custClrLst>
    <a:custClr name="HPE Gold">
      <a:srgbClr val="DEB146"/>
    </a:custClr>
    <a:custClr name="HPE Red">
      <a:srgbClr val="C64F3A"/>
    </a:custClr>
    <a:custClr name="HPE Green">
      <a:srgbClr val="01A982"/>
    </a:custClr>
    <a:custClr name="Primary Green">
      <a:srgbClr val="05CC93"/>
    </a:custClr>
    <a:custClr name="Secondary Green">
      <a:srgbClr val="00E0AF"/>
    </a:custClr>
    <a:custClr name="Blue">
      <a:srgbClr val="0070F8"/>
    </a:custClr>
    <a:custClr name="Light Gray 1">
      <a:srgbClr val="F7F7F7"/>
    </a:custClr>
    <a:custClr name="Light Gray 2">
      <a:srgbClr val="E6E8E9"/>
    </a:custClr>
  </a:custClrLst>
  <a:extLst>
    <a:ext uri="{05A4C25C-085E-4340-85A3-A5531E510DB2}">
      <thm15:themeFamily xmlns:thm15="http://schemas.microsoft.com/office/thememl/2012/main" name="Presentation1" id="{6D4A9D61-DCB0-42F3-B67D-DE8E89918B99}" vid="{F4DB0AD3-70C1-4120-9177-B6C4606FCF4F}"/>
    </a:ext>
  </a:extLst>
</a:theme>
</file>

<file path=ppt/theme/theme2.xml><?xml version="1.0" encoding="utf-8"?>
<a:theme xmlns:a="http://schemas.openxmlformats.org/drawingml/2006/main" name="1_HPE Light Theme">
  <a:themeElements>
    <a:clrScheme name="HPE Light">
      <a:dk1>
        <a:srgbClr val="292D3A"/>
      </a:dk1>
      <a:lt1>
        <a:sysClr val="window" lastClr="FFFFFF"/>
      </a:lt1>
      <a:dk2>
        <a:srgbClr val="B1B9BE"/>
      </a:dk2>
      <a:lt2>
        <a:srgbClr val="535C66"/>
      </a:lt2>
      <a:accent1>
        <a:srgbClr val="01A982"/>
      </a:accent1>
      <a:accent2>
        <a:srgbClr val="7764FC"/>
      </a:accent2>
      <a:accent3>
        <a:srgbClr val="0070F8"/>
      </a:accent3>
      <a:accent4>
        <a:srgbClr val="00DBE4"/>
      </a:accent4>
      <a:accent5>
        <a:srgbClr val="873492"/>
      </a:accent5>
      <a:accent6>
        <a:srgbClr val="CC54A4"/>
      </a:accent6>
      <a:hlink>
        <a:srgbClr val="01A982"/>
      </a:hlink>
      <a:folHlink>
        <a:srgbClr val="7764FC"/>
      </a:folHlink>
    </a:clrScheme>
    <a:fontScheme name="HPE Graphik">
      <a:majorFont>
        <a:latin typeface="HPE Graphik Semibold"/>
        <a:ea typeface=""/>
        <a:cs typeface=""/>
      </a:majorFont>
      <a:minorFont>
        <a:latin typeface="HPE 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47625"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38100">
          <a:noFill/>
        </a:ln>
      </a:spPr>
      <a:bodyPr wrap="square" lIns="90170" tIns="90170" rIns="90170" bIns="90170" rtlCol="0">
        <a:noAutofit/>
      </a:bodyPr>
      <a:lstStyle>
        <a:defPPr algn="l">
          <a:defRPr dirty="0" smtClean="0"/>
        </a:defPPr>
      </a:lstStyle>
    </a:txDef>
  </a:objectDefaults>
  <a:extraClrSchemeLst/>
  <a:custClrLst>
    <a:custClr name="HPE Gold">
      <a:srgbClr val="DEB146"/>
    </a:custClr>
    <a:custClr name="HPE Red">
      <a:srgbClr val="C64F3A"/>
    </a:custClr>
    <a:custClr name="HPE Green">
      <a:srgbClr val="01A982"/>
    </a:custClr>
    <a:custClr name="Primary Green">
      <a:srgbClr val="05CC93"/>
    </a:custClr>
    <a:custClr name="Secondary Green">
      <a:srgbClr val="00E0AF"/>
    </a:custClr>
    <a:custClr name="Blue">
      <a:srgbClr val="0070F8"/>
    </a:custClr>
    <a:custClr name="Light Gray 1">
      <a:srgbClr val="F7F7F7"/>
    </a:custClr>
    <a:custClr name="Light Gray 2">
      <a:srgbClr val="E6E8E9"/>
    </a:custClr>
  </a:custClrLst>
  <a:extLst>
    <a:ext uri="{05A4C25C-085E-4340-85A3-A5531E510DB2}">
      <thm15:themeFamily xmlns:thm15="http://schemas.microsoft.com/office/thememl/2012/main" name="HPE-PowerPoint-Light-Standard-R5.potx" id="{5E11872E-B8EC-4D91-8D11-BD57491BCA92}" vid="{94255D62-316D-453F-B091-FC78B871730D}"/>
    </a:ext>
  </a:extLst>
</a:theme>
</file>

<file path=ppt/theme/theme3.xml><?xml version="1.0" encoding="utf-8"?>
<a:theme xmlns:a="http://schemas.openxmlformats.org/drawingml/2006/main" name="HPE Standard 16x9 White Template">
  <a:themeElements>
    <a:clrScheme name="HPE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00000"/>
      </a:hlink>
      <a:folHlink>
        <a:srgbClr val="000000"/>
      </a:folHlink>
    </a:clrScheme>
    <a:fontScheme name="MetricHPE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0000" tIns="90000" rIns="90000" bIns="90000" rtlCol="0" anchor="ctr" anchorCtr="0">
        <a:noAutofit/>
      </a:bodyPr>
      <a:lstStyle>
        <a:defPPr marL="0" indent="0" algn="ctr">
          <a:lnSpc>
            <a:spcPct val="90000"/>
          </a:lnSpc>
          <a:spcBef>
            <a:spcPts val="400"/>
          </a:spcBef>
          <a:buFont typeface="MetricHPE" panose="020B0503030202060203" pitchFamily="34" charset="0"/>
          <a:buNone/>
          <a:defRPr dirty="0" err="1" smtClean="0"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Presentation1" id="{DF83AC65-2CE5-5D47-AA70-DA80C915B537}" vid="{70ABDF16-605F-5047-8117-CEC0B0474E07}"/>
    </a:ext>
  </a:extLst>
</a:theme>
</file>

<file path=ppt/theme/theme4.xml><?xml version="1.0" encoding="utf-8"?>
<a:theme xmlns:a="http://schemas.openxmlformats.org/drawingml/2006/main" name="HPE Dark Theme">
  <a:themeElements>
    <a:clrScheme name="HPE Dark theme 250311">
      <a:dk1>
        <a:srgbClr val="292D3A"/>
      </a:dk1>
      <a:lt1>
        <a:sysClr val="window" lastClr="FFFFFF"/>
      </a:lt1>
      <a:dk2>
        <a:srgbClr val="292D3A"/>
      </a:dk2>
      <a:lt2>
        <a:srgbClr val="FFFFFF"/>
      </a:lt2>
      <a:accent1>
        <a:srgbClr val="00E0AF"/>
      </a:accent1>
      <a:accent2>
        <a:srgbClr val="9B84FC"/>
      </a:accent2>
      <a:accent3>
        <a:srgbClr val="65AEF9"/>
      </a:accent3>
      <a:accent4>
        <a:srgbClr val="62E5F6"/>
      </a:accent4>
      <a:accent5>
        <a:srgbClr val="C98AD4"/>
      </a:accent5>
      <a:accent6>
        <a:srgbClr val="DB72B8"/>
      </a:accent6>
      <a:hlink>
        <a:srgbClr val="65AEF9"/>
      </a:hlink>
      <a:folHlink>
        <a:srgbClr val="C98AD4"/>
      </a:folHlink>
    </a:clrScheme>
    <a:fontScheme name="HPE Graphik TTF">
      <a:majorFont>
        <a:latin typeface="HPE Graphik TT Semibold"/>
        <a:ea typeface=""/>
        <a:cs typeface=""/>
      </a:majorFont>
      <a:minorFont>
        <a:latin typeface="HPE Graphik 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rtlCol="0">
        <a:spAutoFit/>
      </a:bodyPr>
      <a:lstStyle>
        <a:defPPr algn="l">
          <a:defRPr dirty="0" smtClean="0"/>
        </a:defPPr>
      </a:lstStyle>
    </a:txDef>
  </a:objectDefaults>
  <a:extraClrSchemeLst/>
  <a:custClrLst>
    <a:custClr name="HPE Gold">
      <a:srgbClr val="F9CC61"/>
    </a:custClr>
    <a:custClr name="HPE Red">
      <a:srgbClr val="D25F4B"/>
    </a:custClr>
    <a:custClr name="HPE Green">
      <a:srgbClr val="01A982"/>
    </a:custClr>
    <a:custClr name="Primary Green">
      <a:srgbClr val="05CC93"/>
    </a:custClr>
    <a:custClr name="Secondary Green">
      <a:srgbClr val="00E0AF"/>
    </a:custClr>
    <a:custClr name="Blue">
      <a:srgbClr val="0070F8"/>
    </a:custClr>
    <a:custClr name="Light Gray1">
      <a:srgbClr val="F7F7F7"/>
    </a:custClr>
    <a:custClr name="Light Gray2">
      <a:srgbClr val="E6E8E9"/>
    </a:custClr>
    <a:custClr name="Black">
      <a:srgbClr val="000000"/>
    </a:custClr>
  </a:custClrLst>
  <a:extLst>
    <a:ext uri="{05A4C25C-085E-4340-85A3-A5531E510DB2}">
      <thm15:themeFamily xmlns:thm15="http://schemas.microsoft.com/office/thememl/2012/main" name="AI-Native-Workload-Observability-01" id="{068837C5-1E8C-2047-A248-1041CA6B5C3B}" vid="{CD96EADE-D8A1-5D46-AEF3-B587503713D8}"/>
    </a:ext>
  </a:extLst>
</a:theme>
</file>

<file path=ppt/theme/theme5.xml><?xml version="1.0" encoding="utf-8"?>
<a:theme xmlns:a="http://schemas.openxmlformats.org/drawingml/2006/main" name="1_HPE Standard 16x9 White Template">
  <a:themeElements>
    <a:clrScheme name="HPE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00000"/>
      </a:hlink>
      <a:folHlink>
        <a:srgbClr val="000000"/>
      </a:folHlink>
    </a:clrScheme>
    <a:fontScheme name="MetricHPE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0000" tIns="90000" rIns="90000" bIns="90000" rtlCol="0" anchor="ctr" anchorCtr="0">
        <a:noAutofit/>
      </a:bodyPr>
      <a:lstStyle>
        <a:defPPr marL="0" indent="0" algn="ctr">
          <a:lnSpc>
            <a:spcPct val="90000"/>
          </a:lnSpc>
          <a:spcBef>
            <a:spcPts val="400"/>
          </a:spcBef>
          <a:buFont typeface="MetricHPE" panose="020B0503030202060203" pitchFamily="34" charset="0"/>
          <a:buNone/>
          <a:defRPr dirty="0" err="1" smtClean="0"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hpe-standard-16x9-white-template-1657872101277 (1)" id="{94057C68-9211-214A-A7E1-B251F7033FA5}" vid="{6B9E648D-BACE-9E49-BB5C-E2C293916144}"/>
    </a:ext>
  </a:extLst>
</a:theme>
</file>

<file path=ppt/theme/theme6.xml><?xml version="1.0" encoding="utf-8"?>
<a:theme xmlns:a="http://schemas.openxmlformats.org/drawingml/2006/main" name="2_HPE Light Theme">
  <a:themeElements>
    <a:clrScheme name="HPE Light">
      <a:dk1>
        <a:srgbClr val="292D3A"/>
      </a:dk1>
      <a:lt1>
        <a:sysClr val="window" lastClr="FFFFFF"/>
      </a:lt1>
      <a:dk2>
        <a:srgbClr val="B1B9BE"/>
      </a:dk2>
      <a:lt2>
        <a:srgbClr val="535C66"/>
      </a:lt2>
      <a:accent1>
        <a:srgbClr val="01A982"/>
      </a:accent1>
      <a:accent2>
        <a:srgbClr val="7764FC"/>
      </a:accent2>
      <a:accent3>
        <a:srgbClr val="0070F8"/>
      </a:accent3>
      <a:accent4>
        <a:srgbClr val="00DBE4"/>
      </a:accent4>
      <a:accent5>
        <a:srgbClr val="873492"/>
      </a:accent5>
      <a:accent6>
        <a:srgbClr val="CC54A4"/>
      </a:accent6>
      <a:hlink>
        <a:srgbClr val="01A982"/>
      </a:hlink>
      <a:folHlink>
        <a:srgbClr val="7764FC"/>
      </a:folHlink>
    </a:clrScheme>
    <a:fontScheme name="HPE Graphik">
      <a:majorFont>
        <a:latin typeface="HPE Graphik Semibold"/>
        <a:ea typeface=""/>
        <a:cs typeface=""/>
      </a:majorFont>
      <a:minorFont>
        <a:latin typeface="HPE 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47625"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38100">
          <a:noFill/>
        </a:ln>
      </a:spPr>
      <a:bodyPr wrap="square" lIns="90170" tIns="90170" rIns="90170" bIns="90170" rtlCol="0">
        <a:noAutofit/>
      </a:bodyPr>
      <a:lstStyle>
        <a:defPPr algn="l">
          <a:defRPr dirty="0" smtClean="0"/>
        </a:defPPr>
      </a:lstStyle>
    </a:txDef>
  </a:objectDefaults>
  <a:extraClrSchemeLst/>
  <a:custClrLst>
    <a:custClr name="HPE Gold">
      <a:srgbClr val="DEB146"/>
    </a:custClr>
    <a:custClr name="HPE Red">
      <a:srgbClr val="C64F3A"/>
    </a:custClr>
    <a:custClr name="HPE Green">
      <a:srgbClr val="01A982"/>
    </a:custClr>
    <a:custClr name="Primary Green">
      <a:srgbClr val="05CC93"/>
    </a:custClr>
    <a:custClr name="Secondary Green">
      <a:srgbClr val="00E0AF"/>
    </a:custClr>
    <a:custClr name="Blue">
      <a:srgbClr val="0070F8"/>
    </a:custClr>
    <a:custClr name="Light Gray 1">
      <a:srgbClr val="F7F7F7"/>
    </a:custClr>
    <a:custClr name="Light Gray 2">
      <a:srgbClr val="E6E8E9"/>
    </a:custClr>
  </a:custClrLst>
  <a:extLst>
    <a:ext uri="{05A4C25C-085E-4340-85A3-A5531E510DB2}">
      <thm15:themeFamily xmlns:thm15="http://schemas.microsoft.com/office/thememl/2012/main" name="HPE-PowerPoint-Light-Inspirational-R8" id="{99F2B85A-A9A4-4943-B1A5-B7DA5BD81815}" vid="{5D8E4938-F1F3-4240-BB07-3E8377B9C19D}"/>
    </a:ext>
  </a:extLst>
</a:theme>
</file>

<file path=ppt/theme/theme7.xml><?xml version="1.0" encoding="utf-8"?>
<a:theme xmlns:a="http://schemas.openxmlformats.org/drawingml/2006/main" name="3_HPE Light Theme">
  <a:themeElements>
    <a:clrScheme name="HPE Light">
      <a:dk1>
        <a:srgbClr val="292D3A"/>
      </a:dk1>
      <a:lt1>
        <a:sysClr val="window" lastClr="FFFFFF"/>
      </a:lt1>
      <a:dk2>
        <a:srgbClr val="B1B9BE"/>
      </a:dk2>
      <a:lt2>
        <a:srgbClr val="535C66"/>
      </a:lt2>
      <a:accent1>
        <a:srgbClr val="01A982"/>
      </a:accent1>
      <a:accent2>
        <a:srgbClr val="7764FC"/>
      </a:accent2>
      <a:accent3>
        <a:srgbClr val="0070F8"/>
      </a:accent3>
      <a:accent4>
        <a:srgbClr val="00DBE4"/>
      </a:accent4>
      <a:accent5>
        <a:srgbClr val="873492"/>
      </a:accent5>
      <a:accent6>
        <a:srgbClr val="CC54A4"/>
      </a:accent6>
      <a:hlink>
        <a:srgbClr val="01A982"/>
      </a:hlink>
      <a:folHlink>
        <a:srgbClr val="7764FC"/>
      </a:folHlink>
    </a:clrScheme>
    <a:fontScheme name="HPE Graphik">
      <a:majorFont>
        <a:latin typeface="HPE Graphik Semibold"/>
        <a:ea typeface=""/>
        <a:cs typeface=""/>
      </a:majorFont>
      <a:minorFont>
        <a:latin typeface="HPE 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47625"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38100">
          <a:noFill/>
        </a:ln>
      </a:spPr>
      <a:bodyPr wrap="square" lIns="90170" tIns="90170" rIns="90170" bIns="90170" rtlCol="0">
        <a:noAutofit/>
      </a:bodyPr>
      <a:lstStyle>
        <a:defPPr algn="l">
          <a:defRPr dirty="0" smtClean="0"/>
        </a:defPPr>
      </a:lstStyle>
    </a:txDef>
  </a:objectDefaults>
  <a:extraClrSchemeLst/>
  <a:custClrLst>
    <a:custClr name="HPE Gold">
      <a:srgbClr val="DEB146"/>
    </a:custClr>
    <a:custClr name="HPE Red">
      <a:srgbClr val="C64F3A"/>
    </a:custClr>
    <a:custClr name="HPE Green">
      <a:srgbClr val="01A982"/>
    </a:custClr>
    <a:custClr name="Primary Green">
      <a:srgbClr val="05CC93"/>
    </a:custClr>
    <a:custClr name="Secondary Green">
      <a:srgbClr val="00E0AF"/>
    </a:custClr>
    <a:custClr name="Blue">
      <a:srgbClr val="0070F8"/>
    </a:custClr>
    <a:custClr name="Light Gray 1">
      <a:srgbClr val="F7F7F7"/>
    </a:custClr>
    <a:custClr name="Light Gray 2">
      <a:srgbClr val="E6E8E9"/>
    </a:custClr>
  </a:custClrLst>
  <a:extLst>
    <a:ext uri="{05A4C25C-085E-4340-85A3-A5531E510DB2}">
      <thm15:themeFamily xmlns:thm15="http://schemas.microsoft.com/office/thememl/2012/main" name="Presentation1" id="{6D4A9D61-DCB0-42F3-B67D-DE8E89918B99}" vid="{F4DB0AD3-70C1-4120-9177-B6C4606FCF4F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HPE Graphik">
      <a:majorFont>
        <a:latin typeface="HPE Graphik Semibold"/>
        <a:ea typeface=""/>
        <a:cs typeface=""/>
      </a:majorFont>
      <a:minorFont>
        <a:latin typeface="HPE 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HPE Dark theme 250311">
    <a:dk1>
      <a:srgbClr val="292D3A"/>
    </a:dk1>
    <a:lt1>
      <a:sysClr val="window" lastClr="FFFFFF"/>
    </a:lt1>
    <a:dk2>
      <a:srgbClr val="292D3A"/>
    </a:dk2>
    <a:lt2>
      <a:srgbClr val="FFFFFF"/>
    </a:lt2>
    <a:accent1>
      <a:srgbClr val="00E0AF"/>
    </a:accent1>
    <a:accent2>
      <a:srgbClr val="9B84FC"/>
    </a:accent2>
    <a:accent3>
      <a:srgbClr val="65AEF9"/>
    </a:accent3>
    <a:accent4>
      <a:srgbClr val="62E5F6"/>
    </a:accent4>
    <a:accent5>
      <a:srgbClr val="C98AD4"/>
    </a:accent5>
    <a:accent6>
      <a:srgbClr val="DB72B8"/>
    </a:accent6>
    <a:hlink>
      <a:srgbClr val="65AEF9"/>
    </a:hlink>
    <a:folHlink>
      <a:srgbClr val="C98AD4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FCE04CC3478A24493B845FE78E43281" ma:contentTypeVersion="8" ma:contentTypeDescription="Create a new document." ma:contentTypeScope="" ma:versionID="8051706c4f60c893b8acda9f079e2c37">
  <xsd:schema xmlns:xsd="http://www.w3.org/2001/XMLSchema" xmlns:xs="http://www.w3.org/2001/XMLSchema" xmlns:p="http://schemas.microsoft.com/office/2006/metadata/properties" xmlns:ns2="f8c6c016-b3f2-42e6-ba60-cc6d4e8b2cc4" targetNamespace="http://schemas.microsoft.com/office/2006/metadata/properties" ma:root="true" ma:fieldsID="f990b7f83a594b53cdf68fd86b5517fc" ns2:_="">
    <xsd:import namespace="f8c6c016-b3f2-42e6-ba60-cc6d4e8b2cc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c6c016-b3f2-42e6-ba60-cc6d4e8b2cc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15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CC0593A-7F70-4F4D-8531-3B3C40A63BD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8CB6EE2-63DB-4904-AF0B-6F70C92F776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8c6c016-b3f2-42e6-ba60-cc6d4e8b2cc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3958DC6-5C23-4AE0-B6AA-A4452D5FB2AB}">
  <ds:schemaRefs>
    <ds:schemaRef ds:uri="f8c6c016-b3f2-42e6-ba60-cc6d4e8b2cc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105b2061-b669-4b31-92ac-24d304d195dc}" enabled="0" method="" siteId="{105b2061-b669-4b31-92ac-24d304d195dc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AgenticOSPlatform-InfraAgent-WorkgroupUpdate-Aug2025</Template>
  <TotalTime>36</TotalTime>
  <Words>11</Words>
  <Application>Microsoft Macintosh PowerPoint</Application>
  <PresentationFormat>Widescreen</PresentationFormat>
  <Paragraphs>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7" baseType="lpstr">
      <vt:lpstr>Graphik Light</vt:lpstr>
      <vt:lpstr>Aptos</vt:lpstr>
      <vt:lpstr>Arial</vt:lpstr>
      <vt:lpstr>HPE Graphik</vt:lpstr>
      <vt:lpstr>HPE Graphik Light</vt:lpstr>
      <vt:lpstr>HPE Graphik Semibold</vt:lpstr>
      <vt:lpstr>MetricHPE</vt:lpstr>
      <vt:lpstr>MetricHPE Black</vt:lpstr>
      <vt:lpstr>HPE Light Theme</vt:lpstr>
      <vt:lpstr>1_HPE Light Theme</vt:lpstr>
      <vt:lpstr>HPE Standard 16x9 White Template</vt:lpstr>
      <vt:lpstr>HPE Dark Theme</vt:lpstr>
      <vt:lpstr>1_HPE Standard 16x9 White Template</vt:lpstr>
      <vt:lpstr>2_HPE Light Theme</vt:lpstr>
      <vt:lpstr>3_HPE Light Theme</vt:lpstr>
      <vt:lpstr>think-cell Slide</vt:lpstr>
      <vt:lpstr>Slide Titl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hattacharya, Suparna</dc:creator>
  <cp:lastModifiedBy>Bill Hsu</cp:lastModifiedBy>
  <cp:revision>40</cp:revision>
  <dcterms:created xsi:type="dcterms:W3CDTF">2025-08-26T07:46:13Z</dcterms:created>
  <dcterms:modified xsi:type="dcterms:W3CDTF">2025-12-30T08:54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FCE04CC3478A24493B845FE78E43281</vt:lpwstr>
  </property>
</Properties>
</file>